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4"/>
    <p:sldMasterId id="2147483702" r:id="rId5"/>
    <p:sldMasterId id="2147483708" r:id="rId6"/>
    <p:sldMasterId id="2147483713" r:id="rId7"/>
  </p:sldMasterIdLst>
  <p:notesMasterIdLst>
    <p:notesMasterId r:id="rId36"/>
  </p:notesMasterIdLst>
  <p:handoutMasterIdLst>
    <p:handoutMasterId r:id="rId37"/>
  </p:handoutMasterIdLst>
  <p:sldIdLst>
    <p:sldId id="265" r:id="rId8"/>
    <p:sldId id="648" r:id="rId9"/>
    <p:sldId id="601" r:id="rId10"/>
    <p:sldId id="668" r:id="rId11"/>
    <p:sldId id="672" r:id="rId12"/>
    <p:sldId id="682" r:id="rId13"/>
    <p:sldId id="685" r:id="rId14"/>
    <p:sldId id="683" r:id="rId15"/>
    <p:sldId id="684" r:id="rId16"/>
    <p:sldId id="694" r:id="rId17"/>
    <p:sldId id="695" r:id="rId18"/>
    <p:sldId id="696" r:id="rId19"/>
    <p:sldId id="677" r:id="rId20"/>
    <p:sldId id="686" r:id="rId21"/>
    <p:sldId id="688" r:id="rId22"/>
    <p:sldId id="673" r:id="rId23"/>
    <p:sldId id="674" r:id="rId24"/>
    <p:sldId id="675" r:id="rId25"/>
    <p:sldId id="689" r:id="rId26"/>
    <p:sldId id="676" r:id="rId27"/>
    <p:sldId id="690" r:id="rId28"/>
    <p:sldId id="671" r:id="rId29"/>
    <p:sldId id="678" r:id="rId30"/>
    <p:sldId id="679" r:id="rId31"/>
    <p:sldId id="680" r:id="rId32"/>
    <p:sldId id="691" r:id="rId33"/>
    <p:sldId id="669" r:id="rId34"/>
    <p:sldId id="670" r:id="rId35"/>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20">
          <p15:clr>
            <a:srgbClr val="A4A3A4"/>
          </p15:clr>
        </p15:guide>
        <p15:guide id="2" pos="136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2958" autoAdjust="0"/>
  </p:normalViewPr>
  <p:slideViewPr>
    <p:cSldViewPr snapToGrid="0" showGuides="1">
      <p:cViewPr varScale="1">
        <p:scale>
          <a:sx n="61" d="100"/>
          <a:sy n="61" d="100"/>
        </p:scale>
        <p:origin x="946" y="48"/>
      </p:cViewPr>
      <p:guideLst>
        <p:guide orient="horz" pos="2160"/>
        <p:guide pos="249"/>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Lst>
  </p:outlineViewPr>
  <p:notesTextViewPr>
    <p:cViewPr>
      <p:scale>
        <a:sx n="125" d="100"/>
        <a:sy n="125" d="100"/>
      </p:scale>
      <p:origin x="0" y="0"/>
    </p:cViewPr>
  </p:notesTextViewPr>
  <p:sorterViewPr>
    <p:cViewPr varScale="1">
      <p:scale>
        <a:sx n="1" d="1"/>
        <a:sy n="1" d="1"/>
      </p:scale>
      <p:origin x="0" y="0"/>
    </p:cViewPr>
  </p:sorterViewPr>
  <p:notesViewPr>
    <p:cSldViewPr snapToGrid="0">
      <p:cViewPr varScale="1">
        <p:scale>
          <a:sx n="51" d="100"/>
          <a:sy n="51" d="100"/>
        </p:scale>
        <p:origin x="2620" y="36"/>
      </p:cViewPr>
      <p:guideLst>
        <p:guide orient="horz" pos="2820"/>
        <p:guide pos="136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s>
</file>

<file path=ppt/_rels/viewProps.xml.rels><?xml version="1.0" encoding="UTF-8" standalone="yes"?>
<Relationships xmlns="http://schemas.openxmlformats.org/package/2006/relationships"><Relationship Id="rId3" Type="http://schemas.openxmlformats.org/officeDocument/2006/relationships/slide" Target="slides/slide8.xml"/><Relationship Id="rId7" Type="http://schemas.openxmlformats.org/officeDocument/2006/relationships/slide" Target="slides/slide22.xml"/><Relationship Id="rId2" Type="http://schemas.openxmlformats.org/officeDocument/2006/relationships/slide" Target="slides/slide7.xml"/><Relationship Id="rId1" Type="http://schemas.openxmlformats.org/officeDocument/2006/relationships/slide" Target="slides/slide6.xml"/><Relationship Id="rId6" Type="http://schemas.openxmlformats.org/officeDocument/2006/relationships/slide" Target="slides/slide15.xml"/><Relationship Id="rId5" Type="http://schemas.openxmlformats.org/officeDocument/2006/relationships/slide" Target="slides/slide13.xml"/><Relationship Id="rId4" Type="http://schemas.openxmlformats.org/officeDocument/2006/relationships/slide" Target="slides/slide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3/14/2019</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440163" y="500609"/>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1440163" y="4386820"/>
            <a:ext cx="4892673" cy="4290931"/>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213947" y="3842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latin typeface="Arial" pitchFamily="34" charset="0"/>
                <a:cs typeface="Arial" pitchFamily="34" charset="0"/>
              </a:rPr>
              <a:t>ABAP	</a:t>
            </a:r>
            <a:endParaRPr lang="en-US" dirty="0">
              <a:latin typeface="Arial" pitchFamily="34" charset="0"/>
              <a:cs typeface="Arial" pitchFamily="34" charset="0"/>
            </a:endParaRPr>
          </a:p>
        </p:txBody>
      </p:sp>
      <p:sp>
        <p:nvSpPr>
          <p:cNvPr id="12" name="Rectangle 14"/>
          <p:cNvSpPr>
            <a:spLocks noChangeArrowheads="1"/>
          </p:cNvSpPr>
          <p:nvPr/>
        </p:nvSpPr>
        <p:spPr bwMode="auto">
          <a:xfrm>
            <a:off x="3361560" y="8721074"/>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itchFamily="34" charset="0"/>
                <a:cs typeface="Arial" pitchFamily="34" charset="0"/>
              </a:rPr>
              <a:t>		 Page 09-</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42612296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450276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57070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118916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799950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5724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766771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682094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044581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311474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775252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4581421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175098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211250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300636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905084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w create an interface with a method. Be aware that for each method you create in the interface of a filter-dependent enhancement, the appropriate filter value must be defined as the import parameter so that the application program can provide the filter value to the enhancement method. The method then selects the active implementation for that value.</a:t>
            </a:r>
          </a:p>
          <a:p>
            <a:endParaRPr lang="en-US" dirty="0"/>
          </a:p>
        </p:txBody>
      </p:sp>
    </p:spTree>
    <p:extLst>
      <p:ext uri="{BB962C8B-B14F-4D97-AF65-F5344CB8AC3E}">
        <p14:creationId xmlns:p14="http://schemas.microsoft.com/office/powerpoint/2010/main" val="35714083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343356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385055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1622927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9920991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9436140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835324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557444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441756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086403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76173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365895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hyperlink" Target="http://www.facebook.com/capgemini" TargetMode="External"/><Relationship Id="rId3" Type="http://schemas.openxmlformats.org/officeDocument/2006/relationships/hyperlink" Target="http://www.capgemini.com/about/how-we-work/rightshorer" TargetMode="External"/><Relationship Id="rId7" Type="http://schemas.openxmlformats.org/officeDocument/2006/relationships/hyperlink" Target="http://www.slideshare.net/capgemini" TargetMode="External"/><Relationship Id="rId12" Type="http://schemas.openxmlformats.org/officeDocument/2006/relationships/image" Target="../media/image17.png"/><Relationship Id="rId2" Type="http://schemas.openxmlformats.org/officeDocument/2006/relationships/hyperlink" Target="http://www.capgemini.com/about/how-we-work/the-collaborative-business-experiencetm" TargetMode="External"/><Relationship Id="rId1" Type="http://schemas.openxmlformats.org/officeDocument/2006/relationships/slideMaster" Target="../slideMasters/slideMaster4.xml"/><Relationship Id="rId6" Type="http://schemas.openxmlformats.org/officeDocument/2006/relationships/image" Target="../media/image14.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5" Type="http://schemas.openxmlformats.org/officeDocument/2006/relationships/image" Target="../media/image19.png"/><Relationship Id="rId10" Type="http://schemas.openxmlformats.org/officeDocument/2006/relationships/image" Target="../media/image16.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openxmlformats.org/officeDocument/2006/relationships/image" Target="../media/image18.pn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tags" Target="../tags/tag10.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4.xml"/><Relationship Id="rId1" Type="http://schemas.openxmlformats.org/officeDocument/2006/relationships/tags" Target="../tags/tag1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9.emf"/><Relationship Id="rId2" Type="http://schemas.openxmlformats.org/officeDocument/2006/relationships/tags" Target="../tags/tag13.xml"/><Relationship Id="rId1" Type="http://schemas.openxmlformats.org/officeDocument/2006/relationships/vmlDrawing" Target="../drawings/vmlDrawing2.vml"/><Relationship Id="rId6" Type="http://schemas.openxmlformats.org/officeDocument/2006/relationships/oleObject" Target="../embeddings/oleObject1.bin"/><Relationship Id="rId5" Type="http://schemas.openxmlformats.org/officeDocument/2006/relationships/slideMaster" Target="../slideMasters/slideMaster4.xml"/><Relationship Id="rId4" Type="http://schemas.openxmlformats.org/officeDocument/2006/relationships/tags" Target="../tags/tag1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1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4.xml"/><Relationship Id="rId1" Type="http://schemas.openxmlformats.org/officeDocument/2006/relationships/tags" Target="../tags/tag17.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4.xml"/><Relationship Id="rId1" Type="http://schemas.openxmlformats.org/officeDocument/2006/relationships/tags" Target="../tags/tag1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9.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pic>
        <p:nvPicPr>
          <p:cNvPr id="17"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4" cstate="print">
            <a:extLst>
              <a:ext uri="{96DAC541-7B7A-43D3-8B79-37D633B846F1}">
                <asvg:svgBlip xmlns:asvg="http://schemas.microsoft.com/office/drawing/2016/SVG/main" r:embed="rId5"/>
              </a:ext>
            </a:extLst>
          </a:blip>
          <a:srcRect l="25151" t="1" b="46599"/>
          <a:stretch/>
        </p:blipFill>
        <p:spPr>
          <a:xfrm flipH="1">
            <a:off x="2844108" y="1844825"/>
            <a:ext cx="6299892" cy="5013176"/>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3636058" y="4157668"/>
            <a:ext cx="5039685" cy="1079500"/>
          </a:xfrm>
        </p:spPr>
        <p:txBody>
          <a:bodyPr anchor="b">
            <a:normAutofit/>
          </a:bodyPr>
          <a:lstStyle>
            <a:lvl1pPr algn="l">
              <a:lnSpc>
                <a:spcPts val="2999"/>
              </a:lnSpc>
              <a:defRPr sz="2599">
                <a:solidFill>
                  <a:schemeClr val="bg1"/>
                </a:solidFill>
              </a:defRPr>
            </a:lvl1pPr>
          </a:lstStyle>
          <a:p>
            <a:pPr lvl="0"/>
            <a:r>
              <a:rPr lang="en-US" dirty="0"/>
              <a:t>Click to insert title</a:t>
            </a:r>
          </a:p>
        </p:txBody>
      </p:sp>
    </p:spTree>
    <p:extLst>
      <p:ext uri="{BB962C8B-B14F-4D97-AF65-F5344CB8AC3E}">
        <p14:creationId xmlns:p14="http://schemas.microsoft.com/office/powerpoint/2010/main" val="2671516637"/>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lang="en-US" sz="1800" b="0" kern="1200" dirty="0" smtClean="0">
                <a:solidFill>
                  <a:srgbClr val="000000"/>
                </a:solidFill>
                <a:latin typeface="+mn-lt"/>
                <a:ea typeface="+mn-ea"/>
                <a:cs typeface="+mn-cs"/>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3688294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7322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432176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6904269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8495469" cy="489654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l-PL" dirty="0"/>
          </a:p>
        </p:txBody>
      </p:sp>
    </p:spTree>
    <p:extLst>
      <p:ext uri="{BB962C8B-B14F-4D97-AF65-F5344CB8AC3E}">
        <p14:creationId xmlns:p14="http://schemas.microsoft.com/office/powerpoint/2010/main" val="4867163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4" name="Content Placeholder 7"/>
          <p:cNvSpPr>
            <a:spLocks noGrp="1"/>
          </p:cNvSpPr>
          <p:nvPr>
            <p:ph sz="quarter" idx="10"/>
          </p:nvPr>
        </p:nvSpPr>
        <p:spPr>
          <a:xfrm>
            <a:off x="324266" y="1628800"/>
            <a:ext cx="8495469" cy="46805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Text Placeholder 5"/>
          <p:cNvSpPr>
            <a:spLocks noGrp="1"/>
          </p:cNvSpPr>
          <p:nvPr userDrawn="1">
            <p:ph type="body" sz="quarter" idx="11"/>
          </p:nvPr>
        </p:nvSpPr>
        <p:spPr>
          <a:xfrm>
            <a:off x="324265" y="1148607"/>
            <a:ext cx="8495470" cy="504056"/>
          </a:xfrm>
        </p:spPr>
        <p:txBody>
          <a:bodyPr/>
          <a:lstStyle>
            <a:lvl1pPr>
              <a:defRPr>
                <a:solidFill>
                  <a:schemeClr val="accent2"/>
                </a:solidFill>
              </a:defRPr>
            </a:lvl1pPr>
          </a:lstStyle>
          <a:p>
            <a:pPr lvl="0"/>
            <a:r>
              <a:rPr lang="en-US"/>
              <a:t>Edit Master text styles</a:t>
            </a:r>
          </a:p>
        </p:txBody>
      </p:sp>
    </p:spTree>
    <p:extLst>
      <p:ext uri="{BB962C8B-B14F-4D97-AF65-F5344CB8AC3E}">
        <p14:creationId xmlns:p14="http://schemas.microsoft.com/office/powerpoint/2010/main" val="3231647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Content Placeholder 7"/>
          <p:cNvSpPr>
            <a:spLocks noGrp="1"/>
          </p:cNvSpPr>
          <p:nvPr>
            <p:ph sz="quarter" idx="11"/>
          </p:nvPr>
        </p:nvSpPr>
        <p:spPr>
          <a:xfrm>
            <a:off x="4715991"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6870567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2" name="Content Placeholder 7"/>
          <p:cNvSpPr>
            <a:spLocks noGrp="1"/>
          </p:cNvSpPr>
          <p:nvPr>
            <p:ph sz="quarter" idx="11"/>
          </p:nvPr>
        </p:nvSpPr>
        <p:spPr>
          <a:xfrm>
            <a:off x="3257035"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3" name="Content Placeholder 7"/>
          <p:cNvSpPr>
            <a:spLocks noGrp="1"/>
          </p:cNvSpPr>
          <p:nvPr>
            <p:ph sz="quarter" idx="12"/>
          </p:nvPr>
        </p:nvSpPr>
        <p:spPr>
          <a:xfrm>
            <a:off x="6155901"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13572461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Freeform 3"/>
          <p:cNvSpPr>
            <a:spLocks/>
          </p:cNvSpPr>
          <p:nvPr userDrawn="1"/>
        </p:nvSpPr>
        <p:spPr bwMode="auto">
          <a:xfrm>
            <a:off x="-11004" y="-1"/>
            <a:ext cx="8446086" cy="686895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 name="connsiteX0" fmla="*/ 8876 w 10000"/>
              <a:gd name="connsiteY0" fmla="*/ 0 h 10000"/>
              <a:gd name="connsiteX1" fmla="*/ 7563 w 10000"/>
              <a:gd name="connsiteY1" fmla="*/ 3263 h 10000"/>
              <a:gd name="connsiteX2" fmla="*/ 4661 w 10000"/>
              <a:gd name="connsiteY2" fmla="*/ 6909 h 10000"/>
              <a:gd name="connsiteX3" fmla="*/ 0 w 10000"/>
              <a:gd name="connsiteY3" fmla="*/ 9571 h 10000"/>
              <a:gd name="connsiteX4" fmla="*/ 357 w 10000"/>
              <a:gd name="connsiteY4" fmla="*/ 0 h 10000"/>
              <a:gd name="connsiteX5" fmla="*/ 8876 w 10000"/>
              <a:gd name="connsiteY5" fmla="*/ 0 h 10000"/>
              <a:gd name="connsiteX0" fmla="*/ 8519 w 9643"/>
              <a:gd name="connsiteY0" fmla="*/ 0 h 10000"/>
              <a:gd name="connsiteX1" fmla="*/ 7206 w 9643"/>
              <a:gd name="connsiteY1" fmla="*/ 3263 h 10000"/>
              <a:gd name="connsiteX2" fmla="*/ 4304 w 9643"/>
              <a:gd name="connsiteY2" fmla="*/ 6909 h 10000"/>
              <a:gd name="connsiteX3" fmla="*/ 1287 w 9643"/>
              <a:gd name="connsiteY3" fmla="*/ 6542 h 10000"/>
              <a:gd name="connsiteX4" fmla="*/ 0 w 9643"/>
              <a:gd name="connsiteY4" fmla="*/ 0 h 10000"/>
              <a:gd name="connsiteX5" fmla="*/ 8519 w 9643"/>
              <a:gd name="connsiteY5" fmla="*/ 0 h 10000"/>
              <a:gd name="connsiteX0" fmla="*/ 8834 w 10000"/>
              <a:gd name="connsiteY0" fmla="*/ 0 h 10000"/>
              <a:gd name="connsiteX1" fmla="*/ 7473 w 10000"/>
              <a:gd name="connsiteY1" fmla="*/ 3263 h 10000"/>
              <a:gd name="connsiteX2" fmla="*/ 4463 w 10000"/>
              <a:gd name="connsiteY2" fmla="*/ 6909 h 10000"/>
              <a:gd name="connsiteX3" fmla="*/ 13 w 10000"/>
              <a:gd name="connsiteY3" fmla="*/ 8464 h 10000"/>
              <a:gd name="connsiteX4" fmla="*/ 0 w 10000"/>
              <a:gd name="connsiteY4" fmla="*/ 0 h 10000"/>
              <a:gd name="connsiteX5" fmla="*/ 8834 w 10000"/>
              <a:gd name="connsiteY5" fmla="*/ 0 h 10000"/>
              <a:gd name="connsiteX0" fmla="*/ 8834 w 10000"/>
              <a:gd name="connsiteY0" fmla="*/ 0 h 9888"/>
              <a:gd name="connsiteX1" fmla="*/ 7473 w 10000"/>
              <a:gd name="connsiteY1" fmla="*/ 3263 h 9888"/>
              <a:gd name="connsiteX2" fmla="*/ 4463 w 10000"/>
              <a:gd name="connsiteY2" fmla="*/ 6909 h 9888"/>
              <a:gd name="connsiteX3" fmla="*/ 2161 w 10000"/>
              <a:gd name="connsiteY3" fmla="*/ 8544 h 9888"/>
              <a:gd name="connsiteX4" fmla="*/ 13 w 10000"/>
              <a:gd name="connsiteY4" fmla="*/ 8464 h 9888"/>
              <a:gd name="connsiteX5" fmla="*/ 0 w 10000"/>
              <a:gd name="connsiteY5" fmla="*/ 0 h 9888"/>
              <a:gd name="connsiteX6" fmla="*/ 8834 w 10000"/>
              <a:gd name="connsiteY6" fmla="*/ 0 h 9888"/>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8821"/>
              <a:gd name="connsiteX1" fmla="*/ 7473 w 10000"/>
              <a:gd name="connsiteY1" fmla="*/ 3300 h 8821"/>
              <a:gd name="connsiteX2" fmla="*/ 4463 w 10000"/>
              <a:gd name="connsiteY2" fmla="*/ 6987 h 8821"/>
              <a:gd name="connsiteX3" fmla="*/ 2528 w 10000"/>
              <a:gd name="connsiteY3" fmla="*/ 8559 h 8821"/>
              <a:gd name="connsiteX4" fmla="*/ 13 w 10000"/>
              <a:gd name="connsiteY4" fmla="*/ 8560 h 8821"/>
              <a:gd name="connsiteX5" fmla="*/ 0 w 10000"/>
              <a:gd name="connsiteY5" fmla="*/ 0 h 8821"/>
              <a:gd name="connsiteX6" fmla="*/ 8834 w 10000"/>
              <a:gd name="connsiteY6" fmla="*/ 0 h 8821"/>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9719"/>
              <a:gd name="connsiteX1" fmla="*/ 7473 w 10000"/>
              <a:gd name="connsiteY1" fmla="*/ 3741 h 9719"/>
              <a:gd name="connsiteX2" fmla="*/ 4463 w 10000"/>
              <a:gd name="connsiteY2" fmla="*/ 7921 h 9719"/>
              <a:gd name="connsiteX3" fmla="*/ 2528 w 10000"/>
              <a:gd name="connsiteY3" fmla="*/ 9703 h 9719"/>
              <a:gd name="connsiteX4" fmla="*/ 13 w 10000"/>
              <a:gd name="connsiteY4" fmla="*/ 9704 h 9719"/>
              <a:gd name="connsiteX5" fmla="*/ 0 w 10000"/>
              <a:gd name="connsiteY5" fmla="*/ 0 h 9719"/>
              <a:gd name="connsiteX6" fmla="*/ 8834 w 10000"/>
              <a:gd name="connsiteY6" fmla="*/ 0 h 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719">
                <a:moveTo>
                  <a:pt x="8834" y="0"/>
                </a:moveTo>
                <a:cubicBezTo>
                  <a:pt x="8834" y="0"/>
                  <a:pt x="10000" y="2468"/>
                  <a:pt x="7473" y="3741"/>
                </a:cubicBezTo>
                <a:cubicBezTo>
                  <a:pt x="4951" y="5021"/>
                  <a:pt x="3423" y="5700"/>
                  <a:pt x="4463" y="7921"/>
                </a:cubicBezTo>
                <a:cubicBezTo>
                  <a:pt x="3639" y="8914"/>
                  <a:pt x="3509" y="8866"/>
                  <a:pt x="2528" y="9703"/>
                </a:cubicBezTo>
                <a:cubicBezTo>
                  <a:pt x="27" y="9717"/>
                  <a:pt x="1518" y="9719"/>
                  <a:pt x="13" y="9704"/>
                </a:cubicBezTo>
                <a:cubicBezTo>
                  <a:pt x="9" y="6470"/>
                  <a:pt x="4" y="3234"/>
                  <a:pt x="0" y="0"/>
                </a:cubicBezTo>
                <a:lnTo>
                  <a:pt x="8834" y="0"/>
                </a:lnTo>
                <a:close/>
              </a:path>
            </a:pathLst>
          </a:custGeom>
          <a:solidFill>
            <a:schemeClr val="accent2"/>
          </a:solidFill>
          <a:ln>
            <a:noFill/>
          </a:ln>
        </p:spPr>
        <p:txBody>
          <a:bodyPr vert="horz" wrap="square" lIns="91424" tIns="45712" rIns="91424" bIns="45712" numCol="1" anchor="t" anchorCtr="0" compatLnSpc="1">
            <a:prstTxWarp prst="textNoShape">
              <a:avLst/>
            </a:prstTxWarp>
          </a:bodyPr>
          <a:lstStyle/>
          <a:p>
            <a:endParaRPr lang="en-US"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5991" y="1052737"/>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9218567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3007935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Freeform 7"/>
          <p:cNvSpPr>
            <a:spLocks/>
          </p:cNvSpPr>
          <p:nvPr/>
        </p:nvSpPr>
        <p:spPr bwMode="auto">
          <a:xfrm>
            <a:off x="4643994" y="0"/>
            <a:ext cx="4507581" cy="5805114"/>
          </a:xfrm>
          <a:custGeom>
            <a:avLst/>
            <a:gdLst>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237 w 10000"/>
              <a:gd name="connsiteY35" fmla="*/ 9023 h 10000"/>
              <a:gd name="connsiteX36" fmla="*/ 7052 w 10000"/>
              <a:gd name="connsiteY36" fmla="*/ 8902 h 10000"/>
              <a:gd name="connsiteX37" fmla="*/ 6805 w 10000"/>
              <a:gd name="connsiteY37" fmla="*/ 8736 h 10000"/>
              <a:gd name="connsiteX38" fmla="*/ 6562 w 10000"/>
              <a:gd name="connsiteY38" fmla="*/ 8564 h 10000"/>
              <a:gd name="connsiteX39" fmla="*/ 6319 w 10000"/>
              <a:gd name="connsiteY39" fmla="*/ 8388 h 10000"/>
              <a:gd name="connsiteX40" fmla="*/ 6085 w 10000"/>
              <a:gd name="connsiteY40" fmla="*/ 8208 h 10000"/>
              <a:gd name="connsiteX41" fmla="*/ 5851 w 10000"/>
              <a:gd name="connsiteY41" fmla="*/ 8022 h 10000"/>
              <a:gd name="connsiteX42" fmla="*/ 5621 w 10000"/>
              <a:gd name="connsiteY42" fmla="*/ 7832 h 10000"/>
              <a:gd name="connsiteX43" fmla="*/ 5392 w 10000"/>
              <a:gd name="connsiteY43" fmla="*/ 7642 h 10000"/>
              <a:gd name="connsiteX44" fmla="*/ 5167 w 10000"/>
              <a:gd name="connsiteY44" fmla="*/ 7443 h 10000"/>
              <a:gd name="connsiteX45" fmla="*/ 5167 w 10000"/>
              <a:gd name="connsiteY45" fmla="*/ 7443 h 10000"/>
              <a:gd name="connsiteX46" fmla="*/ 4905 w 10000"/>
              <a:gd name="connsiteY46" fmla="*/ 7216 h 10000"/>
              <a:gd name="connsiteX47" fmla="*/ 4905 w 10000"/>
              <a:gd name="connsiteY47" fmla="*/ 7216 h 10000"/>
              <a:gd name="connsiteX48" fmla="*/ 4995 w 10000"/>
              <a:gd name="connsiteY48" fmla="*/ 7040 h 10000"/>
              <a:gd name="connsiteX49" fmla="*/ 5077 w 10000"/>
              <a:gd name="connsiteY49" fmla="*/ 6864 h 10000"/>
              <a:gd name="connsiteX50" fmla="*/ 5077 w 10000"/>
              <a:gd name="connsiteY50" fmla="*/ 6864 h 10000"/>
              <a:gd name="connsiteX51" fmla="*/ 5113 w 10000"/>
              <a:gd name="connsiteY51" fmla="*/ 6781 h 10000"/>
              <a:gd name="connsiteX52" fmla="*/ 5144 w 10000"/>
              <a:gd name="connsiteY52" fmla="*/ 6693 h 10000"/>
              <a:gd name="connsiteX53" fmla="*/ 5176 w 10000"/>
              <a:gd name="connsiteY53" fmla="*/ 6605 h 10000"/>
              <a:gd name="connsiteX54" fmla="*/ 5203 w 10000"/>
              <a:gd name="connsiteY54" fmla="*/ 6517 h 10000"/>
              <a:gd name="connsiteX55" fmla="*/ 5225 w 10000"/>
              <a:gd name="connsiteY55" fmla="*/ 6424 h 10000"/>
              <a:gd name="connsiteX56" fmla="*/ 5243 w 10000"/>
              <a:gd name="connsiteY56" fmla="*/ 6336 h 10000"/>
              <a:gd name="connsiteX57" fmla="*/ 5252 w 10000"/>
              <a:gd name="connsiteY57" fmla="*/ 6244 h 10000"/>
              <a:gd name="connsiteX58" fmla="*/ 5261 w 10000"/>
              <a:gd name="connsiteY58" fmla="*/ 6146 h 10000"/>
              <a:gd name="connsiteX59" fmla="*/ 5261 w 10000"/>
              <a:gd name="connsiteY59" fmla="*/ 6146 h 10000"/>
              <a:gd name="connsiteX60" fmla="*/ 5266 w 10000"/>
              <a:gd name="connsiteY60" fmla="*/ 6040 h 10000"/>
              <a:gd name="connsiteX61" fmla="*/ 5257 w 10000"/>
              <a:gd name="connsiteY61" fmla="*/ 5933 h 10000"/>
              <a:gd name="connsiteX62" fmla="*/ 5243 w 10000"/>
              <a:gd name="connsiteY62" fmla="*/ 5831 h 10000"/>
              <a:gd name="connsiteX63" fmla="*/ 5221 w 10000"/>
              <a:gd name="connsiteY63" fmla="*/ 5730 h 10000"/>
              <a:gd name="connsiteX64" fmla="*/ 5189 w 10000"/>
              <a:gd name="connsiteY64" fmla="*/ 5632 h 10000"/>
              <a:gd name="connsiteX65" fmla="*/ 5149 w 10000"/>
              <a:gd name="connsiteY65" fmla="*/ 5535 h 10000"/>
              <a:gd name="connsiteX66" fmla="*/ 5099 w 10000"/>
              <a:gd name="connsiteY66" fmla="*/ 5442 h 10000"/>
              <a:gd name="connsiteX67" fmla="*/ 5045 w 10000"/>
              <a:gd name="connsiteY67" fmla="*/ 5350 h 10000"/>
              <a:gd name="connsiteX68" fmla="*/ 5045 w 10000"/>
              <a:gd name="connsiteY68" fmla="*/ 5350 h 10000"/>
              <a:gd name="connsiteX69" fmla="*/ 4986 w 10000"/>
              <a:gd name="connsiteY69" fmla="*/ 5266 h 10000"/>
              <a:gd name="connsiteX70" fmla="*/ 4923 w 10000"/>
              <a:gd name="connsiteY70" fmla="*/ 5183 h 10000"/>
              <a:gd name="connsiteX71" fmla="*/ 4856 w 10000"/>
              <a:gd name="connsiteY71" fmla="*/ 5109 h 10000"/>
              <a:gd name="connsiteX72" fmla="*/ 4784 w 10000"/>
              <a:gd name="connsiteY72" fmla="*/ 5035 h 10000"/>
              <a:gd name="connsiteX73" fmla="*/ 4707 w 10000"/>
              <a:gd name="connsiteY73" fmla="*/ 4965 h 10000"/>
              <a:gd name="connsiteX74" fmla="*/ 4631 w 10000"/>
              <a:gd name="connsiteY74" fmla="*/ 4900 h 10000"/>
              <a:gd name="connsiteX75" fmla="*/ 4550 w 10000"/>
              <a:gd name="connsiteY75" fmla="*/ 4836 h 10000"/>
              <a:gd name="connsiteX76" fmla="*/ 4469 w 10000"/>
              <a:gd name="connsiteY76" fmla="*/ 4775 h 10000"/>
              <a:gd name="connsiteX77" fmla="*/ 4469 w 10000"/>
              <a:gd name="connsiteY77" fmla="*/ 4775 h 10000"/>
              <a:gd name="connsiteX78" fmla="*/ 4347 w 10000"/>
              <a:gd name="connsiteY78" fmla="*/ 4687 h 10000"/>
              <a:gd name="connsiteX79" fmla="*/ 4226 w 10000"/>
              <a:gd name="connsiteY79" fmla="*/ 4609 h 10000"/>
              <a:gd name="connsiteX80" fmla="*/ 4104 w 10000"/>
              <a:gd name="connsiteY80" fmla="*/ 4530 h 10000"/>
              <a:gd name="connsiteX81" fmla="*/ 3978 w 10000"/>
              <a:gd name="connsiteY81" fmla="*/ 4456 h 10000"/>
              <a:gd name="connsiteX82" fmla="*/ 3852 w 10000"/>
              <a:gd name="connsiteY82" fmla="*/ 4386 h 10000"/>
              <a:gd name="connsiteX83" fmla="*/ 3722 w 10000"/>
              <a:gd name="connsiteY83" fmla="*/ 4317 h 10000"/>
              <a:gd name="connsiteX84" fmla="*/ 3591 w 10000"/>
              <a:gd name="connsiteY84" fmla="*/ 4252 h 10000"/>
              <a:gd name="connsiteX85" fmla="*/ 3461 w 10000"/>
              <a:gd name="connsiteY85" fmla="*/ 4187 h 10000"/>
              <a:gd name="connsiteX86" fmla="*/ 3461 w 10000"/>
              <a:gd name="connsiteY86" fmla="*/ 4187 h 10000"/>
              <a:gd name="connsiteX87" fmla="*/ 3029 w 10000"/>
              <a:gd name="connsiteY87" fmla="*/ 3993 h 10000"/>
              <a:gd name="connsiteX88" fmla="*/ 2601 w 10000"/>
              <a:gd name="connsiteY88" fmla="*/ 3798 h 10000"/>
              <a:gd name="connsiteX89" fmla="*/ 1742 w 10000"/>
              <a:gd name="connsiteY89" fmla="*/ 3414 h 10000"/>
              <a:gd name="connsiteX90" fmla="*/ 1742 w 10000"/>
              <a:gd name="connsiteY90" fmla="*/ 3414 h 10000"/>
              <a:gd name="connsiteX91" fmla="*/ 1598 w 10000"/>
              <a:gd name="connsiteY91" fmla="*/ 3349 h 10000"/>
              <a:gd name="connsiteX92" fmla="*/ 1454 w 10000"/>
              <a:gd name="connsiteY92" fmla="*/ 3279 h 10000"/>
              <a:gd name="connsiteX93" fmla="*/ 1314 w 10000"/>
              <a:gd name="connsiteY93" fmla="*/ 3205 h 10000"/>
              <a:gd name="connsiteX94" fmla="*/ 1179 w 10000"/>
              <a:gd name="connsiteY94" fmla="*/ 3126 h 10000"/>
              <a:gd name="connsiteX95" fmla="*/ 1049 w 10000"/>
              <a:gd name="connsiteY95" fmla="*/ 3038 h 10000"/>
              <a:gd name="connsiteX96" fmla="*/ 923 w 10000"/>
              <a:gd name="connsiteY96" fmla="*/ 2946 h 10000"/>
              <a:gd name="connsiteX97" fmla="*/ 797 w 10000"/>
              <a:gd name="connsiteY97" fmla="*/ 2849 h 10000"/>
              <a:gd name="connsiteX98" fmla="*/ 680 w 10000"/>
              <a:gd name="connsiteY98" fmla="*/ 2742 h 10000"/>
              <a:gd name="connsiteX99" fmla="*/ 680 w 10000"/>
              <a:gd name="connsiteY99" fmla="*/ 2742 h 10000"/>
              <a:gd name="connsiteX100" fmla="*/ 590 w 10000"/>
              <a:gd name="connsiteY100" fmla="*/ 2649 h 10000"/>
              <a:gd name="connsiteX101" fmla="*/ 504 w 10000"/>
              <a:gd name="connsiteY101" fmla="*/ 2557 h 10000"/>
              <a:gd name="connsiteX102" fmla="*/ 423 w 10000"/>
              <a:gd name="connsiteY102" fmla="*/ 2459 h 10000"/>
              <a:gd name="connsiteX103" fmla="*/ 356 w 10000"/>
              <a:gd name="connsiteY103" fmla="*/ 2362 h 10000"/>
              <a:gd name="connsiteX104" fmla="*/ 288 w 10000"/>
              <a:gd name="connsiteY104" fmla="*/ 2260 h 10000"/>
              <a:gd name="connsiteX105" fmla="*/ 230 w 10000"/>
              <a:gd name="connsiteY105" fmla="*/ 2154 h 10000"/>
              <a:gd name="connsiteX106" fmla="*/ 180 w 10000"/>
              <a:gd name="connsiteY106" fmla="*/ 2047 h 10000"/>
              <a:gd name="connsiteX107" fmla="*/ 131 w 10000"/>
              <a:gd name="connsiteY107" fmla="*/ 1941 h 10000"/>
              <a:gd name="connsiteX108" fmla="*/ 95 w 10000"/>
              <a:gd name="connsiteY108" fmla="*/ 1830 h 10000"/>
              <a:gd name="connsiteX109" fmla="*/ 63 w 10000"/>
              <a:gd name="connsiteY109" fmla="*/ 1714 h 10000"/>
              <a:gd name="connsiteX110" fmla="*/ 36 w 10000"/>
              <a:gd name="connsiteY110" fmla="*/ 1593 h 10000"/>
              <a:gd name="connsiteX111" fmla="*/ 18 w 10000"/>
              <a:gd name="connsiteY111" fmla="*/ 1473 h 10000"/>
              <a:gd name="connsiteX112" fmla="*/ 5 w 10000"/>
              <a:gd name="connsiteY112" fmla="*/ 1352 h 10000"/>
              <a:gd name="connsiteX113" fmla="*/ 0 w 10000"/>
              <a:gd name="connsiteY113" fmla="*/ 1227 h 10000"/>
              <a:gd name="connsiteX114" fmla="*/ 0 w 10000"/>
              <a:gd name="connsiteY114" fmla="*/ 1098 h 10000"/>
              <a:gd name="connsiteX115" fmla="*/ 9 w 10000"/>
              <a:gd name="connsiteY115" fmla="*/ 968 h 10000"/>
              <a:gd name="connsiteX116" fmla="*/ 9 w 10000"/>
              <a:gd name="connsiteY116" fmla="*/ 968 h 10000"/>
              <a:gd name="connsiteX117" fmla="*/ 23 w 10000"/>
              <a:gd name="connsiteY117" fmla="*/ 848 h 10000"/>
              <a:gd name="connsiteX118" fmla="*/ 41 w 10000"/>
              <a:gd name="connsiteY118" fmla="*/ 727 h 10000"/>
              <a:gd name="connsiteX119" fmla="*/ 68 w 10000"/>
              <a:gd name="connsiteY119" fmla="*/ 607 h 10000"/>
              <a:gd name="connsiteX120" fmla="*/ 95 w 10000"/>
              <a:gd name="connsiteY120" fmla="*/ 491 h 10000"/>
              <a:gd name="connsiteX121" fmla="*/ 131 w 10000"/>
              <a:gd name="connsiteY121" fmla="*/ 375 h 10000"/>
              <a:gd name="connsiteX122" fmla="*/ 171 w 10000"/>
              <a:gd name="connsiteY122" fmla="*/ 259 h 10000"/>
              <a:gd name="connsiteX123" fmla="*/ 212 w 10000"/>
              <a:gd name="connsiteY123" fmla="*/ 148 h 10000"/>
              <a:gd name="connsiteX124" fmla="*/ 266 w 10000"/>
              <a:gd name="connsiteY124" fmla="*/ 37 h 10000"/>
              <a:gd name="connsiteX125" fmla="*/ 266 w 10000"/>
              <a:gd name="connsiteY125" fmla="*/ 37 h 10000"/>
              <a:gd name="connsiteX126" fmla="*/ 275 w 10000"/>
              <a:gd name="connsiteY126" fmla="*/ 0 h 10000"/>
              <a:gd name="connsiteX127" fmla="*/ 275 w 10000"/>
              <a:gd name="connsiteY12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052 w 10000"/>
              <a:gd name="connsiteY35" fmla="*/ 8902 h 10000"/>
              <a:gd name="connsiteX36" fmla="*/ 6805 w 10000"/>
              <a:gd name="connsiteY36" fmla="*/ 8736 h 10000"/>
              <a:gd name="connsiteX37" fmla="*/ 6562 w 10000"/>
              <a:gd name="connsiteY37" fmla="*/ 8564 h 10000"/>
              <a:gd name="connsiteX38" fmla="*/ 6319 w 10000"/>
              <a:gd name="connsiteY38" fmla="*/ 8388 h 10000"/>
              <a:gd name="connsiteX39" fmla="*/ 6085 w 10000"/>
              <a:gd name="connsiteY39" fmla="*/ 8208 h 10000"/>
              <a:gd name="connsiteX40" fmla="*/ 5851 w 10000"/>
              <a:gd name="connsiteY40" fmla="*/ 8022 h 10000"/>
              <a:gd name="connsiteX41" fmla="*/ 5621 w 10000"/>
              <a:gd name="connsiteY41" fmla="*/ 7832 h 10000"/>
              <a:gd name="connsiteX42" fmla="*/ 5392 w 10000"/>
              <a:gd name="connsiteY42" fmla="*/ 7642 h 10000"/>
              <a:gd name="connsiteX43" fmla="*/ 5167 w 10000"/>
              <a:gd name="connsiteY43" fmla="*/ 7443 h 10000"/>
              <a:gd name="connsiteX44" fmla="*/ 5167 w 10000"/>
              <a:gd name="connsiteY44" fmla="*/ 7443 h 10000"/>
              <a:gd name="connsiteX45" fmla="*/ 4905 w 10000"/>
              <a:gd name="connsiteY45" fmla="*/ 7216 h 10000"/>
              <a:gd name="connsiteX46" fmla="*/ 4905 w 10000"/>
              <a:gd name="connsiteY46" fmla="*/ 7216 h 10000"/>
              <a:gd name="connsiteX47" fmla="*/ 4995 w 10000"/>
              <a:gd name="connsiteY47" fmla="*/ 7040 h 10000"/>
              <a:gd name="connsiteX48" fmla="*/ 5077 w 10000"/>
              <a:gd name="connsiteY48" fmla="*/ 6864 h 10000"/>
              <a:gd name="connsiteX49" fmla="*/ 5077 w 10000"/>
              <a:gd name="connsiteY49" fmla="*/ 6864 h 10000"/>
              <a:gd name="connsiteX50" fmla="*/ 5113 w 10000"/>
              <a:gd name="connsiteY50" fmla="*/ 6781 h 10000"/>
              <a:gd name="connsiteX51" fmla="*/ 5144 w 10000"/>
              <a:gd name="connsiteY51" fmla="*/ 6693 h 10000"/>
              <a:gd name="connsiteX52" fmla="*/ 5176 w 10000"/>
              <a:gd name="connsiteY52" fmla="*/ 6605 h 10000"/>
              <a:gd name="connsiteX53" fmla="*/ 5203 w 10000"/>
              <a:gd name="connsiteY53" fmla="*/ 6517 h 10000"/>
              <a:gd name="connsiteX54" fmla="*/ 5225 w 10000"/>
              <a:gd name="connsiteY54" fmla="*/ 6424 h 10000"/>
              <a:gd name="connsiteX55" fmla="*/ 5243 w 10000"/>
              <a:gd name="connsiteY55" fmla="*/ 6336 h 10000"/>
              <a:gd name="connsiteX56" fmla="*/ 5252 w 10000"/>
              <a:gd name="connsiteY56" fmla="*/ 6244 h 10000"/>
              <a:gd name="connsiteX57" fmla="*/ 5261 w 10000"/>
              <a:gd name="connsiteY57" fmla="*/ 6146 h 10000"/>
              <a:gd name="connsiteX58" fmla="*/ 5261 w 10000"/>
              <a:gd name="connsiteY58" fmla="*/ 6146 h 10000"/>
              <a:gd name="connsiteX59" fmla="*/ 5266 w 10000"/>
              <a:gd name="connsiteY59" fmla="*/ 6040 h 10000"/>
              <a:gd name="connsiteX60" fmla="*/ 5257 w 10000"/>
              <a:gd name="connsiteY60" fmla="*/ 5933 h 10000"/>
              <a:gd name="connsiteX61" fmla="*/ 5243 w 10000"/>
              <a:gd name="connsiteY61" fmla="*/ 5831 h 10000"/>
              <a:gd name="connsiteX62" fmla="*/ 5221 w 10000"/>
              <a:gd name="connsiteY62" fmla="*/ 5730 h 10000"/>
              <a:gd name="connsiteX63" fmla="*/ 5189 w 10000"/>
              <a:gd name="connsiteY63" fmla="*/ 5632 h 10000"/>
              <a:gd name="connsiteX64" fmla="*/ 5149 w 10000"/>
              <a:gd name="connsiteY64" fmla="*/ 5535 h 10000"/>
              <a:gd name="connsiteX65" fmla="*/ 5099 w 10000"/>
              <a:gd name="connsiteY65" fmla="*/ 5442 h 10000"/>
              <a:gd name="connsiteX66" fmla="*/ 5045 w 10000"/>
              <a:gd name="connsiteY66" fmla="*/ 5350 h 10000"/>
              <a:gd name="connsiteX67" fmla="*/ 5045 w 10000"/>
              <a:gd name="connsiteY67" fmla="*/ 5350 h 10000"/>
              <a:gd name="connsiteX68" fmla="*/ 4986 w 10000"/>
              <a:gd name="connsiteY68" fmla="*/ 5266 h 10000"/>
              <a:gd name="connsiteX69" fmla="*/ 4923 w 10000"/>
              <a:gd name="connsiteY69" fmla="*/ 5183 h 10000"/>
              <a:gd name="connsiteX70" fmla="*/ 4856 w 10000"/>
              <a:gd name="connsiteY70" fmla="*/ 5109 h 10000"/>
              <a:gd name="connsiteX71" fmla="*/ 4784 w 10000"/>
              <a:gd name="connsiteY71" fmla="*/ 5035 h 10000"/>
              <a:gd name="connsiteX72" fmla="*/ 4707 w 10000"/>
              <a:gd name="connsiteY72" fmla="*/ 4965 h 10000"/>
              <a:gd name="connsiteX73" fmla="*/ 4631 w 10000"/>
              <a:gd name="connsiteY73" fmla="*/ 4900 h 10000"/>
              <a:gd name="connsiteX74" fmla="*/ 4550 w 10000"/>
              <a:gd name="connsiteY74" fmla="*/ 4836 h 10000"/>
              <a:gd name="connsiteX75" fmla="*/ 4469 w 10000"/>
              <a:gd name="connsiteY75" fmla="*/ 4775 h 10000"/>
              <a:gd name="connsiteX76" fmla="*/ 4469 w 10000"/>
              <a:gd name="connsiteY76" fmla="*/ 4775 h 10000"/>
              <a:gd name="connsiteX77" fmla="*/ 4347 w 10000"/>
              <a:gd name="connsiteY77" fmla="*/ 4687 h 10000"/>
              <a:gd name="connsiteX78" fmla="*/ 4226 w 10000"/>
              <a:gd name="connsiteY78" fmla="*/ 4609 h 10000"/>
              <a:gd name="connsiteX79" fmla="*/ 4104 w 10000"/>
              <a:gd name="connsiteY79" fmla="*/ 4530 h 10000"/>
              <a:gd name="connsiteX80" fmla="*/ 3978 w 10000"/>
              <a:gd name="connsiteY80" fmla="*/ 4456 h 10000"/>
              <a:gd name="connsiteX81" fmla="*/ 3852 w 10000"/>
              <a:gd name="connsiteY81" fmla="*/ 4386 h 10000"/>
              <a:gd name="connsiteX82" fmla="*/ 3722 w 10000"/>
              <a:gd name="connsiteY82" fmla="*/ 4317 h 10000"/>
              <a:gd name="connsiteX83" fmla="*/ 3591 w 10000"/>
              <a:gd name="connsiteY83" fmla="*/ 4252 h 10000"/>
              <a:gd name="connsiteX84" fmla="*/ 3461 w 10000"/>
              <a:gd name="connsiteY84" fmla="*/ 4187 h 10000"/>
              <a:gd name="connsiteX85" fmla="*/ 3461 w 10000"/>
              <a:gd name="connsiteY85" fmla="*/ 4187 h 10000"/>
              <a:gd name="connsiteX86" fmla="*/ 3029 w 10000"/>
              <a:gd name="connsiteY86" fmla="*/ 3993 h 10000"/>
              <a:gd name="connsiteX87" fmla="*/ 2601 w 10000"/>
              <a:gd name="connsiteY87" fmla="*/ 3798 h 10000"/>
              <a:gd name="connsiteX88" fmla="*/ 1742 w 10000"/>
              <a:gd name="connsiteY88" fmla="*/ 3414 h 10000"/>
              <a:gd name="connsiteX89" fmla="*/ 1742 w 10000"/>
              <a:gd name="connsiteY89" fmla="*/ 3414 h 10000"/>
              <a:gd name="connsiteX90" fmla="*/ 1598 w 10000"/>
              <a:gd name="connsiteY90" fmla="*/ 3349 h 10000"/>
              <a:gd name="connsiteX91" fmla="*/ 1454 w 10000"/>
              <a:gd name="connsiteY91" fmla="*/ 3279 h 10000"/>
              <a:gd name="connsiteX92" fmla="*/ 1314 w 10000"/>
              <a:gd name="connsiteY92" fmla="*/ 3205 h 10000"/>
              <a:gd name="connsiteX93" fmla="*/ 1179 w 10000"/>
              <a:gd name="connsiteY93" fmla="*/ 3126 h 10000"/>
              <a:gd name="connsiteX94" fmla="*/ 1049 w 10000"/>
              <a:gd name="connsiteY94" fmla="*/ 3038 h 10000"/>
              <a:gd name="connsiteX95" fmla="*/ 923 w 10000"/>
              <a:gd name="connsiteY95" fmla="*/ 2946 h 10000"/>
              <a:gd name="connsiteX96" fmla="*/ 797 w 10000"/>
              <a:gd name="connsiteY96" fmla="*/ 2849 h 10000"/>
              <a:gd name="connsiteX97" fmla="*/ 680 w 10000"/>
              <a:gd name="connsiteY97" fmla="*/ 2742 h 10000"/>
              <a:gd name="connsiteX98" fmla="*/ 680 w 10000"/>
              <a:gd name="connsiteY98" fmla="*/ 2742 h 10000"/>
              <a:gd name="connsiteX99" fmla="*/ 590 w 10000"/>
              <a:gd name="connsiteY99" fmla="*/ 2649 h 10000"/>
              <a:gd name="connsiteX100" fmla="*/ 504 w 10000"/>
              <a:gd name="connsiteY100" fmla="*/ 2557 h 10000"/>
              <a:gd name="connsiteX101" fmla="*/ 423 w 10000"/>
              <a:gd name="connsiteY101" fmla="*/ 2459 h 10000"/>
              <a:gd name="connsiteX102" fmla="*/ 356 w 10000"/>
              <a:gd name="connsiteY102" fmla="*/ 2362 h 10000"/>
              <a:gd name="connsiteX103" fmla="*/ 288 w 10000"/>
              <a:gd name="connsiteY103" fmla="*/ 2260 h 10000"/>
              <a:gd name="connsiteX104" fmla="*/ 230 w 10000"/>
              <a:gd name="connsiteY104" fmla="*/ 2154 h 10000"/>
              <a:gd name="connsiteX105" fmla="*/ 180 w 10000"/>
              <a:gd name="connsiteY105" fmla="*/ 2047 h 10000"/>
              <a:gd name="connsiteX106" fmla="*/ 131 w 10000"/>
              <a:gd name="connsiteY106" fmla="*/ 1941 h 10000"/>
              <a:gd name="connsiteX107" fmla="*/ 95 w 10000"/>
              <a:gd name="connsiteY107" fmla="*/ 1830 h 10000"/>
              <a:gd name="connsiteX108" fmla="*/ 63 w 10000"/>
              <a:gd name="connsiteY108" fmla="*/ 1714 h 10000"/>
              <a:gd name="connsiteX109" fmla="*/ 36 w 10000"/>
              <a:gd name="connsiteY109" fmla="*/ 1593 h 10000"/>
              <a:gd name="connsiteX110" fmla="*/ 18 w 10000"/>
              <a:gd name="connsiteY110" fmla="*/ 1473 h 10000"/>
              <a:gd name="connsiteX111" fmla="*/ 5 w 10000"/>
              <a:gd name="connsiteY111" fmla="*/ 1352 h 10000"/>
              <a:gd name="connsiteX112" fmla="*/ 0 w 10000"/>
              <a:gd name="connsiteY112" fmla="*/ 1227 h 10000"/>
              <a:gd name="connsiteX113" fmla="*/ 0 w 10000"/>
              <a:gd name="connsiteY113" fmla="*/ 1098 h 10000"/>
              <a:gd name="connsiteX114" fmla="*/ 9 w 10000"/>
              <a:gd name="connsiteY114" fmla="*/ 968 h 10000"/>
              <a:gd name="connsiteX115" fmla="*/ 9 w 10000"/>
              <a:gd name="connsiteY115" fmla="*/ 968 h 10000"/>
              <a:gd name="connsiteX116" fmla="*/ 23 w 10000"/>
              <a:gd name="connsiteY116" fmla="*/ 848 h 10000"/>
              <a:gd name="connsiteX117" fmla="*/ 41 w 10000"/>
              <a:gd name="connsiteY117" fmla="*/ 727 h 10000"/>
              <a:gd name="connsiteX118" fmla="*/ 68 w 10000"/>
              <a:gd name="connsiteY118" fmla="*/ 607 h 10000"/>
              <a:gd name="connsiteX119" fmla="*/ 95 w 10000"/>
              <a:gd name="connsiteY119" fmla="*/ 491 h 10000"/>
              <a:gd name="connsiteX120" fmla="*/ 131 w 10000"/>
              <a:gd name="connsiteY120" fmla="*/ 375 h 10000"/>
              <a:gd name="connsiteX121" fmla="*/ 171 w 10000"/>
              <a:gd name="connsiteY121" fmla="*/ 259 h 10000"/>
              <a:gd name="connsiteX122" fmla="*/ 212 w 10000"/>
              <a:gd name="connsiteY122" fmla="*/ 148 h 10000"/>
              <a:gd name="connsiteX123" fmla="*/ 266 w 10000"/>
              <a:gd name="connsiteY123" fmla="*/ 37 h 10000"/>
              <a:gd name="connsiteX124" fmla="*/ 266 w 10000"/>
              <a:gd name="connsiteY124" fmla="*/ 37 h 10000"/>
              <a:gd name="connsiteX125" fmla="*/ 275 w 10000"/>
              <a:gd name="connsiteY125" fmla="*/ 0 h 10000"/>
              <a:gd name="connsiteX126" fmla="*/ 275 w 10000"/>
              <a:gd name="connsiteY126"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052 w 10000"/>
              <a:gd name="connsiteY34" fmla="*/ 8902 h 10000"/>
              <a:gd name="connsiteX35" fmla="*/ 6805 w 10000"/>
              <a:gd name="connsiteY35" fmla="*/ 8736 h 10000"/>
              <a:gd name="connsiteX36" fmla="*/ 6562 w 10000"/>
              <a:gd name="connsiteY36" fmla="*/ 8564 h 10000"/>
              <a:gd name="connsiteX37" fmla="*/ 6319 w 10000"/>
              <a:gd name="connsiteY37" fmla="*/ 8388 h 10000"/>
              <a:gd name="connsiteX38" fmla="*/ 6085 w 10000"/>
              <a:gd name="connsiteY38" fmla="*/ 8208 h 10000"/>
              <a:gd name="connsiteX39" fmla="*/ 5851 w 10000"/>
              <a:gd name="connsiteY39" fmla="*/ 8022 h 10000"/>
              <a:gd name="connsiteX40" fmla="*/ 5621 w 10000"/>
              <a:gd name="connsiteY40" fmla="*/ 7832 h 10000"/>
              <a:gd name="connsiteX41" fmla="*/ 5392 w 10000"/>
              <a:gd name="connsiteY41" fmla="*/ 7642 h 10000"/>
              <a:gd name="connsiteX42" fmla="*/ 5167 w 10000"/>
              <a:gd name="connsiteY42" fmla="*/ 7443 h 10000"/>
              <a:gd name="connsiteX43" fmla="*/ 5167 w 10000"/>
              <a:gd name="connsiteY43" fmla="*/ 7443 h 10000"/>
              <a:gd name="connsiteX44" fmla="*/ 4905 w 10000"/>
              <a:gd name="connsiteY44" fmla="*/ 7216 h 10000"/>
              <a:gd name="connsiteX45" fmla="*/ 4905 w 10000"/>
              <a:gd name="connsiteY45" fmla="*/ 7216 h 10000"/>
              <a:gd name="connsiteX46" fmla="*/ 4995 w 10000"/>
              <a:gd name="connsiteY46" fmla="*/ 7040 h 10000"/>
              <a:gd name="connsiteX47" fmla="*/ 5077 w 10000"/>
              <a:gd name="connsiteY47" fmla="*/ 6864 h 10000"/>
              <a:gd name="connsiteX48" fmla="*/ 5077 w 10000"/>
              <a:gd name="connsiteY48" fmla="*/ 6864 h 10000"/>
              <a:gd name="connsiteX49" fmla="*/ 5113 w 10000"/>
              <a:gd name="connsiteY49" fmla="*/ 6781 h 10000"/>
              <a:gd name="connsiteX50" fmla="*/ 5144 w 10000"/>
              <a:gd name="connsiteY50" fmla="*/ 6693 h 10000"/>
              <a:gd name="connsiteX51" fmla="*/ 5176 w 10000"/>
              <a:gd name="connsiteY51" fmla="*/ 6605 h 10000"/>
              <a:gd name="connsiteX52" fmla="*/ 5203 w 10000"/>
              <a:gd name="connsiteY52" fmla="*/ 6517 h 10000"/>
              <a:gd name="connsiteX53" fmla="*/ 5225 w 10000"/>
              <a:gd name="connsiteY53" fmla="*/ 6424 h 10000"/>
              <a:gd name="connsiteX54" fmla="*/ 5243 w 10000"/>
              <a:gd name="connsiteY54" fmla="*/ 6336 h 10000"/>
              <a:gd name="connsiteX55" fmla="*/ 5252 w 10000"/>
              <a:gd name="connsiteY55" fmla="*/ 6244 h 10000"/>
              <a:gd name="connsiteX56" fmla="*/ 5261 w 10000"/>
              <a:gd name="connsiteY56" fmla="*/ 6146 h 10000"/>
              <a:gd name="connsiteX57" fmla="*/ 5261 w 10000"/>
              <a:gd name="connsiteY57" fmla="*/ 6146 h 10000"/>
              <a:gd name="connsiteX58" fmla="*/ 5266 w 10000"/>
              <a:gd name="connsiteY58" fmla="*/ 6040 h 10000"/>
              <a:gd name="connsiteX59" fmla="*/ 5257 w 10000"/>
              <a:gd name="connsiteY59" fmla="*/ 5933 h 10000"/>
              <a:gd name="connsiteX60" fmla="*/ 5243 w 10000"/>
              <a:gd name="connsiteY60" fmla="*/ 5831 h 10000"/>
              <a:gd name="connsiteX61" fmla="*/ 5221 w 10000"/>
              <a:gd name="connsiteY61" fmla="*/ 5730 h 10000"/>
              <a:gd name="connsiteX62" fmla="*/ 5189 w 10000"/>
              <a:gd name="connsiteY62" fmla="*/ 5632 h 10000"/>
              <a:gd name="connsiteX63" fmla="*/ 5149 w 10000"/>
              <a:gd name="connsiteY63" fmla="*/ 5535 h 10000"/>
              <a:gd name="connsiteX64" fmla="*/ 5099 w 10000"/>
              <a:gd name="connsiteY64" fmla="*/ 5442 h 10000"/>
              <a:gd name="connsiteX65" fmla="*/ 5045 w 10000"/>
              <a:gd name="connsiteY65" fmla="*/ 5350 h 10000"/>
              <a:gd name="connsiteX66" fmla="*/ 5045 w 10000"/>
              <a:gd name="connsiteY66" fmla="*/ 5350 h 10000"/>
              <a:gd name="connsiteX67" fmla="*/ 4986 w 10000"/>
              <a:gd name="connsiteY67" fmla="*/ 5266 h 10000"/>
              <a:gd name="connsiteX68" fmla="*/ 4923 w 10000"/>
              <a:gd name="connsiteY68" fmla="*/ 5183 h 10000"/>
              <a:gd name="connsiteX69" fmla="*/ 4856 w 10000"/>
              <a:gd name="connsiteY69" fmla="*/ 5109 h 10000"/>
              <a:gd name="connsiteX70" fmla="*/ 4784 w 10000"/>
              <a:gd name="connsiteY70" fmla="*/ 5035 h 10000"/>
              <a:gd name="connsiteX71" fmla="*/ 4707 w 10000"/>
              <a:gd name="connsiteY71" fmla="*/ 4965 h 10000"/>
              <a:gd name="connsiteX72" fmla="*/ 4631 w 10000"/>
              <a:gd name="connsiteY72" fmla="*/ 4900 h 10000"/>
              <a:gd name="connsiteX73" fmla="*/ 4550 w 10000"/>
              <a:gd name="connsiteY73" fmla="*/ 4836 h 10000"/>
              <a:gd name="connsiteX74" fmla="*/ 4469 w 10000"/>
              <a:gd name="connsiteY74" fmla="*/ 4775 h 10000"/>
              <a:gd name="connsiteX75" fmla="*/ 4469 w 10000"/>
              <a:gd name="connsiteY75" fmla="*/ 4775 h 10000"/>
              <a:gd name="connsiteX76" fmla="*/ 4347 w 10000"/>
              <a:gd name="connsiteY76" fmla="*/ 4687 h 10000"/>
              <a:gd name="connsiteX77" fmla="*/ 4226 w 10000"/>
              <a:gd name="connsiteY77" fmla="*/ 4609 h 10000"/>
              <a:gd name="connsiteX78" fmla="*/ 4104 w 10000"/>
              <a:gd name="connsiteY78" fmla="*/ 4530 h 10000"/>
              <a:gd name="connsiteX79" fmla="*/ 3978 w 10000"/>
              <a:gd name="connsiteY79" fmla="*/ 4456 h 10000"/>
              <a:gd name="connsiteX80" fmla="*/ 3852 w 10000"/>
              <a:gd name="connsiteY80" fmla="*/ 4386 h 10000"/>
              <a:gd name="connsiteX81" fmla="*/ 3722 w 10000"/>
              <a:gd name="connsiteY81" fmla="*/ 4317 h 10000"/>
              <a:gd name="connsiteX82" fmla="*/ 3591 w 10000"/>
              <a:gd name="connsiteY82" fmla="*/ 4252 h 10000"/>
              <a:gd name="connsiteX83" fmla="*/ 3461 w 10000"/>
              <a:gd name="connsiteY83" fmla="*/ 4187 h 10000"/>
              <a:gd name="connsiteX84" fmla="*/ 3461 w 10000"/>
              <a:gd name="connsiteY84" fmla="*/ 4187 h 10000"/>
              <a:gd name="connsiteX85" fmla="*/ 3029 w 10000"/>
              <a:gd name="connsiteY85" fmla="*/ 3993 h 10000"/>
              <a:gd name="connsiteX86" fmla="*/ 2601 w 10000"/>
              <a:gd name="connsiteY86" fmla="*/ 3798 h 10000"/>
              <a:gd name="connsiteX87" fmla="*/ 1742 w 10000"/>
              <a:gd name="connsiteY87" fmla="*/ 3414 h 10000"/>
              <a:gd name="connsiteX88" fmla="*/ 1742 w 10000"/>
              <a:gd name="connsiteY88" fmla="*/ 3414 h 10000"/>
              <a:gd name="connsiteX89" fmla="*/ 1598 w 10000"/>
              <a:gd name="connsiteY89" fmla="*/ 3349 h 10000"/>
              <a:gd name="connsiteX90" fmla="*/ 1454 w 10000"/>
              <a:gd name="connsiteY90" fmla="*/ 3279 h 10000"/>
              <a:gd name="connsiteX91" fmla="*/ 1314 w 10000"/>
              <a:gd name="connsiteY91" fmla="*/ 3205 h 10000"/>
              <a:gd name="connsiteX92" fmla="*/ 1179 w 10000"/>
              <a:gd name="connsiteY92" fmla="*/ 3126 h 10000"/>
              <a:gd name="connsiteX93" fmla="*/ 1049 w 10000"/>
              <a:gd name="connsiteY93" fmla="*/ 3038 h 10000"/>
              <a:gd name="connsiteX94" fmla="*/ 923 w 10000"/>
              <a:gd name="connsiteY94" fmla="*/ 2946 h 10000"/>
              <a:gd name="connsiteX95" fmla="*/ 797 w 10000"/>
              <a:gd name="connsiteY95" fmla="*/ 2849 h 10000"/>
              <a:gd name="connsiteX96" fmla="*/ 680 w 10000"/>
              <a:gd name="connsiteY96" fmla="*/ 2742 h 10000"/>
              <a:gd name="connsiteX97" fmla="*/ 680 w 10000"/>
              <a:gd name="connsiteY97" fmla="*/ 2742 h 10000"/>
              <a:gd name="connsiteX98" fmla="*/ 590 w 10000"/>
              <a:gd name="connsiteY98" fmla="*/ 2649 h 10000"/>
              <a:gd name="connsiteX99" fmla="*/ 504 w 10000"/>
              <a:gd name="connsiteY99" fmla="*/ 2557 h 10000"/>
              <a:gd name="connsiteX100" fmla="*/ 423 w 10000"/>
              <a:gd name="connsiteY100" fmla="*/ 2459 h 10000"/>
              <a:gd name="connsiteX101" fmla="*/ 356 w 10000"/>
              <a:gd name="connsiteY101" fmla="*/ 2362 h 10000"/>
              <a:gd name="connsiteX102" fmla="*/ 288 w 10000"/>
              <a:gd name="connsiteY102" fmla="*/ 2260 h 10000"/>
              <a:gd name="connsiteX103" fmla="*/ 230 w 10000"/>
              <a:gd name="connsiteY103" fmla="*/ 2154 h 10000"/>
              <a:gd name="connsiteX104" fmla="*/ 180 w 10000"/>
              <a:gd name="connsiteY104" fmla="*/ 2047 h 10000"/>
              <a:gd name="connsiteX105" fmla="*/ 131 w 10000"/>
              <a:gd name="connsiteY105" fmla="*/ 1941 h 10000"/>
              <a:gd name="connsiteX106" fmla="*/ 95 w 10000"/>
              <a:gd name="connsiteY106" fmla="*/ 1830 h 10000"/>
              <a:gd name="connsiteX107" fmla="*/ 63 w 10000"/>
              <a:gd name="connsiteY107" fmla="*/ 1714 h 10000"/>
              <a:gd name="connsiteX108" fmla="*/ 36 w 10000"/>
              <a:gd name="connsiteY108" fmla="*/ 1593 h 10000"/>
              <a:gd name="connsiteX109" fmla="*/ 18 w 10000"/>
              <a:gd name="connsiteY109" fmla="*/ 1473 h 10000"/>
              <a:gd name="connsiteX110" fmla="*/ 5 w 10000"/>
              <a:gd name="connsiteY110" fmla="*/ 1352 h 10000"/>
              <a:gd name="connsiteX111" fmla="*/ 0 w 10000"/>
              <a:gd name="connsiteY111" fmla="*/ 1227 h 10000"/>
              <a:gd name="connsiteX112" fmla="*/ 0 w 10000"/>
              <a:gd name="connsiteY112" fmla="*/ 1098 h 10000"/>
              <a:gd name="connsiteX113" fmla="*/ 9 w 10000"/>
              <a:gd name="connsiteY113" fmla="*/ 968 h 10000"/>
              <a:gd name="connsiteX114" fmla="*/ 9 w 10000"/>
              <a:gd name="connsiteY114" fmla="*/ 968 h 10000"/>
              <a:gd name="connsiteX115" fmla="*/ 23 w 10000"/>
              <a:gd name="connsiteY115" fmla="*/ 848 h 10000"/>
              <a:gd name="connsiteX116" fmla="*/ 41 w 10000"/>
              <a:gd name="connsiteY116" fmla="*/ 727 h 10000"/>
              <a:gd name="connsiteX117" fmla="*/ 68 w 10000"/>
              <a:gd name="connsiteY117" fmla="*/ 607 h 10000"/>
              <a:gd name="connsiteX118" fmla="*/ 95 w 10000"/>
              <a:gd name="connsiteY118" fmla="*/ 491 h 10000"/>
              <a:gd name="connsiteX119" fmla="*/ 131 w 10000"/>
              <a:gd name="connsiteY119" fmla="*/ 375 h 10000"/>
              <a:gd name="connsiteX120" fmla="*/ 171 w 10000"/>
              <a:gd name="connsiteY120" fmla="*/ 259 h 10000"/>
              <a:gd name="connsiteX121" fmla="*/ 212 w 10000"/>
              <a:gd name="connsiteY121" fmla="*/ 148 h 10000"/>
              <a:gd name="connsiteX122" fmla="*/ 266 w 10000"/>
              <a:gd name="connsiteY122" fmla="*/ 37 h 10000"/>
              <a:gd name="connsiteX123" fmla="*/ 266 w 10000"/>
              <a:gd name="connsiteY123" fmla="*/ 37 h 10000"/>
              <a:gd name="connsiteX124" fmla="*/ 275 w 10000"/>
              <a:gd name="connsiteY124" fmla="*/ 0 h 10000"/>
              <a:gd name="connsiteX125" fmla="*/ 275 w 10000"/>
              <a:gd name="connsiteY125"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052 w 10000"/>
              <a:gd name="connsiteY33" fmla="*/ 8902 h 10000"/>
              <a:gd name="connsiteX34" fmla="*/ 6805 w 10000"/>
              <a:gd name="connsiteY34" fmla="*/ 8736 h 10000"/>
              <a:gd name="connsiteX35" fmla="*/ 6562 w 10000"/>
              <a:gd name="connsiteY35" fmla="*/ 8564 h 10000"/>
              <a:gd name="connsiteX36" fmla="*/ 6319 w 10000"/>
              <a:gd name="connsiteY36" fmla="*/ 8388 h 10000"/>
              <a:gd name="connsiteX37" fmla="*/ 6085 w 10000"/>
              <a:gd name="connsiteY37" fmla="*/ 8208 h 10000"/>
              <a:gd name="connsiteX38" fmla="*/ 5851 w 10000"/>
              <a:gd name="connsiteY38" fmla="*/ 8022 h 10000"/>
              <a:gd name="connsiteX39" fmla="*/ 5621 w 10000"/>
              <a:gd name="connsiteY39" fmla="*/ 7832 h 10000"/>
              <a:gd name="connsiteX40" fmla="*/ 5392 w 10000"/>
              <a:gd name="connsiteY40" fmla="*/ 7642 h 10000"/>
              <a:gd name="connsiteX41" fmla="*/ 5167 w 10000"/>
              <a:gd name="connsiteY41" fmla="*/ 7443 h 10000"/>
              <a:gd name="connsiteX42" fmla="*/ 5167 w 10000"/>
              <a:gd name="connsiteY42" fmla="*/ 7443 h 10000"/>
              <a:gd name="connsiteX43" fmla="*/ 4905 w 10000"/>
              <a:gd name="connsiteY43" fmla="*/ 7216 h 10000"/>
              <a:gd name="connsiteX44" fmla="*/ 4905 w 10000"/>
              <a:gd name="connsiteY44" fmla="*/ 7216 h 10000"/>
              <a:gd name="connsiteX45" fmla="*/ 4995 w 10000"/>
              <a:gd name="connsiteY45" fmla="*/ 7040 h 10000"/>
              <a:gd name="connsiteX46" fmla="*/ 5077 w 10000"/>
              <a:gd name="connsiteY46" fmla="*/ 6864 h 10000"/>
              <a:gd name="connsiteX47" fmla="*/ 5077 w 10000"/>
              <a:gd name="connsiteY47" fmla="*/ 6864 h 10000"/>
              <a:gd name="connsiteX48" fmla="*/ 5113 w 10000"/>
              <a:gd name="connsiteY48" fmla="*/ 6781 h 10000"/>
              <a:gd name="connsiteX49" fmla="*/ 5144 w 10000"/>
              <a:gd name="connsiteY49" fmla="*/ 6693 h 10000"/>
              <a:gd name="connsiteX50" fmla="*/ 5176 w 10000"/>
              <a:gd name="connsiteY50" fmla="*/ 6605 h 10000"/>
              <a:gd name="connsiteX51" fmla="*/ 5203 w 10000"/>
              <a:gd name="connsiteY51" fmla="*/ 6517 h 10000"/>
              <a:gd name="connsiteX52" fmla="*/ 5225 w 10000"/>
              <a:gd name="connsiteY52" fmla="*/ 6424 h 10000"/>
              <a:gd name="connsiteX53" fmla="*/ 5243 w 10000"/>
              <a:gd name="connsiteY53" fmla="*/ 6336 h 10000"/>
              <a:gd name="connsiteX54" fmla="*/ 5252 w 10000"/>
              <a:gd name="connsiteY54" fmla="*/ 6244 h 10000"/>
              <a:gd name="connsiteX55" fmla="*/ 5261 w 10000"/>
              <a:gd name="connsiteY55" fmla="*/ 6146 h 10000"/>
              <a:gd name="connsiteX56" fmla="*/ 5261 w 10000"/>
              <a:gd name="connsiteY56" fmla="*/ 6146 h 10000"/>
              <a:gd name="connsiteX57" fmla="*/ 5266 w 10000"/>
              <a:gd name="connsiteY57" fmla="*/ 6040 h 10000"/>
              <a:gd name="connsiteX58" fmla="*/ 5257 w 10000"/>
              <a:gd name="connsiteY58" fmla="*/ 5933 h 10000"/>
              <a:gd name="connsiteX59" fmla="*/ 5243 w 10000"/>
              <a:gd name="connsiteY59" fmla="*/ 5831 h 10000"/>
              <a:gd name="connsiteX60" fmla="*/ 5221 w 10000"/>
              <a:gd name="connsiteY60" fmla="*/ 5730 h 10000"/>
              <a:gd name="connsiteX61" fmla="*/ 5189 w 10000"/>
              <a:gd name="connsiteY61" fmla="*/ 5632 h 10000"/>
              <a:gd name="connsiteX62" fmla="*/ 5149 w 10000"/>
              <a:gd name="connsiteY62" fmla="*/ 5535 h 10000"/>
              <a:gd name="connsiteX63" fmla="*/ 5099 w 10000"/>
              <a:gd name="connsiteY63" fmla="*/ 5442 h 10000"/>
              <a:gd name="connsiteX64" fmla="*/ 5045 w 10000"/>
              <a:gd name="connsiteY64" fmla="*/ 5350 h 10000"/>
              <a:gd name="connsiteX65" fmla="*/ 5045 w 10000"/>
              <a:gd name="connsiteY65" fmla="*/ 5350 h 10000"/>
              <a:gd name="connsiteX66" fmla="*/ 4986 w 10000"/>
              <a:gd name="connsiteY66" fmla="*/ 5266 h 10000"/>
              <a:gd name="connsiteX67" fmla="*/ 4923 w 10000"/>
              <a:gd name="connsiteY67" fmla="*/ 5183 h 10000"/>
              <a:gd name="connsiteX68" fmla="*/ 4856 w 10000"/>
              <a:gd name="connsiteY68" fmla="*/ 5109 h 10000"/>
              <a:gd name="connsiteX69" fmla="*/ 4784 w 10000"/>
              <a:gd name="connsiteY69" fmla="*/ 5035 h 10000"/>
              <a:gd name="connsiteX70" fmla="*/ 4707 w 10000"/>
              <a:gd name="connsiteY70" fmla="*/ 4965 h 10000"/>
              <a:gd name="connsiteX71" fmla="*/ 4631 w 10000"/>
              <a:gd name="connsiteY71" fmla="*/ 4900 h 10000"/>
              <a:gd name="connsiteX72" fmla="*/ 4550 w 10000"/>
              <a:gd name="connsiteY72" fmla="*/ 4836 h 10000"/>
              <a:gd name="connsiteX73" fmla="*/ 4469 w 10000"/>
              <a:gd name="connsiteY73" fmla="*/ 4775 h 10000"/>
              <a:gd name="connsiteX74" fmla="*/ 4469 w 10000"/>
              <a:gd name="connsiteY74" fmla="*/ 4775 h 10000"/>
              <a:gd name="connsiteX75" fmla="*/ 4347 w 10000"/>
              <a:gd name="connsiteY75" fmla="*/ 4687 h 10000"/>
              <a:gd name="connsiteX76" fmla="*/ 4226 w 10000"/>
              <a:gd name="connsiteY76" fmla="*/ 4609 h 10000"/>
              <a:gd name="connsiteX77" fmla="*/ 4104 w 10000"/>
              <a:gd name="connsiteY77" fmla="*/ 4530 h 10000"/>
              <a:gd name="connsiteX78" fmla="*/ 3978 w 10000"/>
              <a:gd name="connsiteY78" fmla="*/ 4456 h 10000"/>
              <a:gd name="connsiteX79" fmla="*/ 3852 w 10000"/>
              <a:gd name="connsiteY79" fmla="*/ 4386 h 10000"/>
              <a:gd name="connsiteX80" fmla="*/ 3722 w 10000"/>
              <a:gd name="connsiteY80" fmla="*/ 4317 h 10000"/>
              <a:gd name="connsiteX81" fmla="*/ 3591 w 10000"/>
              <a:gd name="connsiteY81" fmla="*/ 4252 h 10000"/>
              <a:gd name="connsiteX82" fmla="*/ 3461 w 10000"/>
              <a:gd name="connsiteY82" fmla="*/ 4187 h 10000"/>
              <a:gd name="connsiteX83" fmla="*/ 3461 w 10000"/>
              <a:gd name="connsiteY83" fmla="*/ 4187 h 10000"/>
              <a:gd name="connsiteX84" fmla="*/ 3029 w 10000"/>
              <a:gd name="connsiteY84" fmla="*/ 3993 h 10000"/>
              <a:gd name="connsiteX85" fmla="*/ 2601 w 10000"/>
              <a:gd name="connsiteY85" fmla="*/ 3798 h 10000"/>
              <a:gd name="connsiteX86" fmla="*/ 1742 w 10000"/>
              <a:gd name="connsiteY86" fmla="*/ 3414 h 10000"/>
              <a:gd name="connsiteX87" fmla="*/ 1742 w 10000"/>
              <a:gd name="connsiteY87" fmla="*/ 3414 h 10000"/>
              <a:gd name="connsiteX88" fmla="*/ 1598 w 10000"/>
              <a:gd name="connsiteY88" fmla="*/ 3349 h 10000"/>
              <a:gd name="connsiteX89" fmla="*/ 1454 w 10000"/>
              <a:gd name="connsiteY89" fmla="*/ 3279 h 10000"/>
              <a:gd name="connsiteX90" fmla="*/ 1314 w 10000"/>
              <a:gd name="connsiteY90" fmla="*/ 3205 h 10000"/>
              <a:gd name="connsiteX91" fmla="*/ 1179 w 10000"/>
              <a:gd name="connsiteY91" fmla="*/ 3126 h 10000"/>
              <a:gd name="connsiteX92" fmla="*/ 1049 w 10000"/>
              <a:gd name="connsiteY92" fmla="*/ 3038 h 10000"/>
              <a:gd name="connsiteX93" fmla="*/ 923 w 10000"/>
              <a:gd name="connsiteY93" fmla="*/ 2946 h 10000"/>
              <a:gd name="connsiteX94" fmla="*/ 797 w 10000"/>
              <a:gd name="connsiteY94" fmla="*/ 2849 h 10000"/>
              <a:gd name="connsiteX95" fmla="*/ 680 w 10000"/>
              <a:gd name="connsiteY95" fmla="*/ 2742 h 10000"/>
              <a:gd name="connsiteX96" fmla="*/ 680 w 10000"/>
              <a:gd name="connsiteY96" fmla="*/ 2742 h 10000"/>
              <a:gd name="connsiteX97" fmla="*/ 590 w 10000"/>
              <a:gd name="connsiteY97" fmla="*/ 2649 h 10000"/>
              <a:gd name="connsiteX98" fmla="*/ 504 w 10000"/>
              <a:gd name="connsiteY98" fmla="*/ 2557 h 10000"/>
              <a:gd name="connsiteX99" fmla="*/ 423 w 10000"/>
              <a:gd name="connsiteY99" fmla="*/ 2459 h 10000"/>
              <a:gd name="connsiteX100" fmla="*/ 356 w 10000"/>
              <a:gd name="connsiteY100" fmla="*/ 2362 h 10000"/>
              <a:gd name="connsiteX101" fmla="*/ 288 w 10000"/>
              <a:gd name="connsiteY101" fmla="*/ 2260 h 10000"/>
              <a:gd name="connsiteX102" fmla="*/ 230 w 10000"/>
              <a:gd name="connsiteY102" fmla="*/ 2154 h 10000"/>
              <a:gd name="connsiteX103" fmla="*/ 180 w 10000"/>
              <a:gd name="connsiteY103" fmla="*/ 2047 h 10000"/>
              <a:gd name="connsiteX104" fmla="*/ 131 w 10000"/>
              <a:gd name="connsiteY104" fmla="*/ 1941 h 10000"/>
              <a:gd name="connsiteX105" fmla="*/ 95 w 10000"/>
              <a:gd name="connsiteY105" fmla="*/ 1830 h 10000"/>
              <a:gd name="connsiteX106" fmla="*/ 63 w 10000"/>
              <a:gd name="connsiteY106" fmla="*/ 1714 h 10000"/>
              <a:gd name="connsiteX107" fmla="*/ 36 w 10000"/>
              <a:gd name="connsiteY107" fmla="*/ 1593 h 10000"/>
              <a:gd name="connsiteX108" fmla="*/ 18 w 10000"/>
              <a:gd name="connsiteY108" fmla="*/ 1473 h 10000"/>
              <a:gd name="connsiteX109" fmla="*/ 5 w 10000"/>
              <a:gd name="connsiteY109" fmla="*/ 1352 h 10000"/>
              <a:gd name="connsiteX110" fmla="*/ 0 w 10000"/>
              <a:gd name="connsiteY110" fmla="*/ 1227 h 10000"/>
              <a:gd name="connsiteX111" fmla="*/ 0 w 10000"/>
              <a:gd name="connsiteY111" fmla="*/ 1098 h 10000"/>
              <a:gd name="connsiteX112" fmla="*/ 9 w 10000"/>
              <a:gd name="connsiteY112" fmla="*/ 968 h 10000"/>
              <a:gd name="connsiteX113" fmla="*/ 9 w 10000"/>
              <a:gd name="connsiteY113" fmla="*/ 968 h 10000"/>
              <a:gd name="connsiteX114" fmla="*/ 23 w 10000"/>
              <a:gd name="connsiteY114" fmla="*/ 848 h 10000"/>
              <a:gd name="connsiteX115" fmla="*/ 41 w 10000"/>
              <a:gd name="connsiteY115" fmla="*/ 727 h 10000"/>
              <a:gd name="connsiteX116" fmla="*/ 68 w 10000"/>
              <a:gd name="connsiteY116" fmla="*/ 607 h 10000"/>
              <a:gd name="connsiteX117" fmla="*/ 95 w 10000"/>
              <a:gd name="connsiteY117" fmla="*/ 491 h 10000"/>
              <a:gd name="connsiteX118" fmla="*/ 131 w 10000"/>
              <a:gd name="connsiteY118" fmla="*/ 375 h 10000"/>
              <a:gd name="connsiteX119" fmla="*/ 171 w 10000"/>
              <a:gd name="connsiteY119" fmla="*/ 259 h 10000"/>
              <a:gd name="connsiteX120" fmla="*/ 212 w 10000"/>
              <a:gd name="connsiteY120" fmla="*/ 148 h 10000"/>
              <a:gd name="connsiteX121" fmla="*/ 266 w 10000"/>
              <a:gd name="connsiteY121" fmla="*/ 37 h 10000"/>
              <a:gd name="connsiteX122" fmla="*/ 266 w 10000"/>
              <a:gd name="connsiteY122" fmla="*/ 37 h 10000"/>
              <a:gd name="connsiteX123" fmla="*/ 275 w 10000"/>
              <a:gd name="connsiteY123" fmla="*/ 0 h 10000"/>
              <a:gd name="connsiteX124" fmla="*/ 275 w 10000"/>
              <a:gd name="connsiteY124"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052 w 10000"/>
              <a:gd name="connsiteY32" fmla="*/ 8902 h 10000"/>
              <a:gd name="connsiteX33" fmla="*/ 6805 w 10000"/>
              <a:gd name="connsiteY33" fmla="*/ 8736 h 10000"/>
              <a:gd name="connsiteX34" fmla="*/ 6562 w 10000"/>
              <a:gd name="connsiteY34" fmla="*/ 8564 h 10000"/>
              <a:gd name="connsiteX35" fmla="*/ 6319 w 10000"/>
              <a:gd name="connsiteY35" fmla="*/ 8388 h 10000"/>
              <a:gd name="connsiteX36" fmla="*/ 6085 w 10000"/>
              <a:gd name="connsiteY36" fmla="*/ 8208 h 10000"/>
              <a:gd name="connsiteX37" fmla="*/ 5851 w 10000"/>
              <a:gd name="connsiteY37" fmla="*/ 8022 h 10000"/>
              <a:gd name="connsiteX38" fmla="*/ 5621 w 10000"/>
              <a:gd name="connsiteY38" fmla="*/ 7832 h 10000"/>
              <a:gd name="connsiteX39" fmla="*/ 5392 w 10000"/>
              <a:gd name="connsiteY39" fmla="*/ 7642 h 10000"/>
              <a:gd name="connsiteX40" fmla="*/ 5167 w 10000"/>
              <a:gd name="connsiteY40" fmla="*/ 7443 h 10000"/>
              <a:gd name="connsiteX41" fmla="*/ 5167 w 10000"/>
              <a:gd name="connsiteY41" fmla="*/ 7443 h 10000"/>
              <a:gd name="connsiteX42" fmla="*/ 4905 w 10000"/>
              <a:gd name="connsiteY42" fmla="*/ 7216 h 10000"/>
              <a:gd name="connsiteX43" fmla="*/ 4905 w 10000"/>
              <a:gd name="connsiteY43" fmla="*/ 7216 h 10000"/>
              <a:gd name="connsiteX44" fmla="*/ 4995 w 10000"/>
              <a:gd name="connsiteY44" fmla="*/ 7040 h 10000"/>
              <a:gd name="connsiteX45" fmla="*/ 5077 w 10000"/>
              <a:gd name="connsiteY45" fmla="*/ 6864 h 10000"/>
              <a:gd name="connsiteX46" fmla="*/ 5077 w 10000"/>
              <a:gd name="connsiteY46" fmla="*/ 6864 h 10000"/>
              <a:gd name="connsiteX47" fmla="*/ 5113 w 10000"/>
              <a:gd name="connsiteY47" fmla="*/ 6781 h 10000"/>
              <a:gd name="connsiteX48" fmla="*/ 5144 w 10000"/>
              <a:gd name="connsiteY48" fmla="*/ 6693 h 10000"/>
              <a:gd name="connsiteX49" fmla="*/ 5176 w 10000"/>
              <a:gd name="connsiteY49" fmla="*/ 6605 h 10000"/>
              <a:gd name="connsiteX50" fmla="*/ 5203 w 10000"/>
              <a:gd name="connsiteY50" fmla="*/ 6517 h 10000"/>
              <a:gd name="connsiteX51" fmla="*/ 5225 w 10000"/>
              <a:gd name="connsiteY51" fmla="*/ 6424 h 10000"/>
              <a:gd name="connsiteX52" fmla="*/ 5243 w 10000"/>
              <a:gd name="connsiteY52" fmla="*/ 6336 h 10000"/>
              <a:gd name="connsiteX53" fmla="*/ 5252 w 10000"/>
              <a:gd name="connsiteY53" fmla="*/ 6244 h 10000"/>
              <a:gd name="connsiteX54" fmla="*/ 5261 w 10000"/>
              <a:gd name="connsiteY54" fmla="*/ 6146 h 10000"/>
              <a:gd name="connsiteX55" fmla="*/ 5261 w 10000"/>
              <a:gd name="connsiteY55" fmla="*/ 6146 h 10000"/>
              <a:gd name="connsiteX56" fmla="*/ 5266 w 10000"/>
              <a:gd name="connsiteY56" fmla="*/ 6040 h 10000"/>
              <a:gd name="connsiteX57" fmla="*/ 5257 w 10000"/>
              <a:gd name="connsiteY57" fmla="*/ 5933 h 10000"/>
              <a:gd name="connsiteX58" fmla="*/ 5243 w 10000"/>
              <a:gd name="connsiteY58" fmla="*/ 5831 h 10000"/>
              <a:gd name="connsiteX59" fmla="*/ 5221 w 10000"/>
              <a:gd name="connsiteY59" fmla="*/ 5730 h 10000"/>
              <a:gd name="connsiteX60" fmla="*/ 5189 w 10000"/>
              <a:gd name="connsiteY60" fmla="*/ 5632 h 10000"/>
              <a:gd name="connsiteX61" fmla="*/ 5149 w 10000"/>
              <a:gd name="connsiteY61" fmla="*/ 5535 h 10000"/>
              <a:gd name="connsiteX62" fmla="*/ 5099 w 10000"/>
              <a:gd name="connsiteY62" fmla="*/ 5442 h 10000"/>
              <a:gd name="connsiteX63" fmla="*/ 5045 w 10000"/>
              <a:gd name="connsiteY63" fmla="*/ 5350 h 10000"/>
              <a:gd name="connsiteX64" fmla="*/ 5045 w 10000"/>
              <a:gd name="connsiteY64" fmla="*/ 5350 h 10000"/>
              <a:gd name="connsiteX65" fmla="*/ 4986 w 10000"/>
              <a:gd name="connsiteY65" fmla="*/ 5266 h 10000"/>
              <a:gd name="connsiteX66" fmla="*/ 4923 w 10000"/>
              <a:gd name="connsiteY66" fmla="*/ 5183 h 10000"/>
              <a:gd name="connsiteX67" fmla="*/ 4856 w 10000"/>
              <a:gd name="connsiteY67" fmla="*/ 5109 h 10000"/>
              <a:gd name="connsiteX68" fmla="*/ 4784 w 10000"/>
              <a:gd name="connsiteY68" fmla="*/ 5035 h 10000"/>
              <a:gd name="connsiteX69" fmla="*/ 4707 w 10000"/>
              <a:gd name="connsiteY69" fmla="*/ 4965 h 10000"/>
              <a:gd name="connsiteX70" fmla="*/ 4631 w 10000"/>
              <a:gd name="connsiteY70" fmla="*/ 4900 h 10000"/>
              <a:gd name="connsiteX71" fmla="*/ 4550 w 10000"/>
              <a:gd name="connsiteY71" fmla="*/ 4836 h 10000"/>
              <a:gd name="connsiteX72" fmla="*/ 4469 w 10000"/>
              <a:gd name="connsiteY72" fmla="*/ 4775 h 10000"/>
              <a:gd name="connsiteX73" fmla="*/ 4469 w 10000"/>
              <a:gd name="connsiteY73" fmla="*/ 4775 h 10000"/>
              <a:gd name="connsiteX74" fmla="*/ 4347 w 10000"/>
              <a:gd name="connsiteY74" fmla="*/ 4687 h 10000"/>
              <a:gd name="connsiteX75" fmla="*/ 4226 w 10000"/>
              <a:gd name="connsiteY75" fmla="*/ 4609 h 10000"/>
              <a:gd name="connsiteX76" fmla="*/ 4104 w 10000"/>
              <a:gd name="connsiteY76" fmla="*/ 4530 h 10000"/>
              <a:gd name="connsiteX77" fmla="*/ 3978 w 10000"/>
              <a:gd name="connsiteY77" fmla="*/ 4456 h 10000"/>
              <a:gd name="connsiteX78" fmla="*/ 3852 w 10000"/>
              <a:gd name="connsiteY78" fmla="*/ 4386 h 10000"/>
              <a:gd name="connsiteX79" fmla="*/ 3722 w 10000"/>
              <a:gd name="connsiteY79" fmla="*/ 4317 h 10000"/>
              <a:gd name="connsiteX80" fmla="*/ 3591 w 10000"/>
              <a:gd name="connsiteY80" fmla="*/ 4252 h 10000"/>
              <a:gd name="connsiteX81" fmla="*/ 3461 w 10000"/>
              <a:gd name="connsiteY81" fmla="*/ 4187 h 10000"/>
              <a:gd name="connsiteX82" fmla="*/ 3461 w 10000"/>
              <a:gd name="connsiteY82" fmla="*/ 4187 h 10000"/>
              <a:gd name="connsiteX83" fmla="*/ 3029 w 10000"/>
              <a:gd name="connsiteY83" fmla="*/ 3993 h 10000"/>
              <a:gd name="connsiteX84" fmla="*/ 2601 w 10000"/>
              <a:gd name="connsiteY84" fmla="*/ 3798 h 10000"/>
              <a:gd name="connsiteX85" fmla="*/ 1742 w 10000"/>
              <a:gd name="connsiteY85" fmla="*/ 3414 h 10000"/>
              <a:gd name="connsiteX86" fmla="*/ 1742 w 10000"/>
              <a:gd name="connsiteY86" fmla="*/ 3414 h 10000"/>
              <a:gd name="connsiteX87" fmla="*/ 1598 w 10000"/>
              <a:gd name="connsiteY87" fmla="*/ 3349 h 10000"/>
              <a:gd name="connsiteX88" fmla="*/ 1454 w 10000"/>
              <a:gd name="connsiteY88" fmla="*/ 3279 h 10000"/>
              <a:gd name="connsiteX89" fmla="*/ 1314 w 10000"/>
              <a:gd name="connsiteY89" fmla="*/ 3205 h 10000"/>
              <a:gd name="connsiteX90" fmla="*/ 1179 w 10000"/>
              <a:gd name="connsiteY90" fmla="*/ 3126 h 10000"/>
              <a:gd name="connsiteX91" fmla="*/ 1049 w 10000"/>
              <a:gd name="connsiteY91" fmla="*/ 3038 h 10000"/>
              <a:gd name="connsiteX92" fmla="*/ 923 w 10000"/>
              <a:gd name="connsiteY92" fmla="*/ 2946 h 10000"/>
              <a:gd name="connsiteX93" fmla="*/ 797 w 10000"/>
              <a:gd name="connsiteY93" fmla="*/ 2849 h 10000"/>
              <a:gd name="connsiteX94" fmla="*/ 680 w 10000"/>
              <a:gd name="connsiteY94" fmla="*/ 2742 h 10000"/>
              <a:gd name="connsiteX95" fmla="*/ 680 w 10000"/>
              <a:gd name="connsiteY95" fmla="*/ 2742 h 10000"/>
              <a:gd name="connsiteX96" fmla="*/ 590 w 10000"/>
              <a:gd name="connsiteY96" fmla="*/ 2649 h 10000"/>
              <a:gd name="connsiteX97" fmla="*/ 504 w 10000"/>
              <a:gd name="connsiteY97" fmla="*/ 2557 h 10000"/>
              <a:gd name="connsiteX98" fmla="*/ 423 w 10000"/>
              <a:gd name="connsiteY98" fmla="*/ 2459 h 10000"/>
              <a:gd name="connsiteX99" fmla="*/ 356 w 10000"/>
              <a:gd name="connsiteY99" fmla="*/ 2362 h 10000"/>
              <a:gd name="connsiteX100" fmla="*/ 288 w 10000"/>
              <a:gd name="connsiteY100" fmla="*/ 2260 h 10000"/>
              <a:gd name="connsiteX101" fmla="*/ 230 w 10000"/>
              <a:gd name="connsiteY101" fmla="*/ 2154 h 10000"/>
              <a:gd name="connsiteX102" fmla="*/ 180 w 10000"/>
              <a:gd name="connsiteY102" fmla="*/ 2047 h 10000"/>
              <a:gd name="connsiteX103" fmla="*/ 131 w 10000"/>
              <a:gd name="connsiteY103" fmla="*/ 1941 h 10000"/>
              <a:gd name="connsiteX104" fmla="*/ 95 w 10000"/>
              <a:gd name="connsiteY104" fmla="*/ 1830 h 10000"/>
              <a:gd name="connsiteX105" fmla="*/ 63 w 10000"/>
              <a:gd name="connsiteY105" fmla="*/ 1714 h 10000"/>
              <a:gd name="connsiteX106" fmla="*/ 36 w 10000"/>
              <a:gd name="connsiteY106" fmla="*/ 1593 h 10000"/>
              <a:gd name="connsiteX107" fmla="*/ 18 w 10000"/>
              <a:gd name="connsiteY107" fmla="*/ 1473 h 10000"/>
              <a:gd name="connsiteX108" fmla="*/ 5 w 10000"/>
              <a:gd name="connsiteY108" fmla="*/ 1352 h 10000"/>
              <a:gd name="connsiteX109" fmla="*/ 0 w 10000"/>
              <a:gd name="connsiteY109" fmla="*/ 1227 h 10000"/>
              <a:gd name="connsiteX110" fmla="*/ 0 w 10000"/>
              <a:gd name="connsiteY110" fmla="*/ 1098 h 10000"/>
              <a:gd name="connsiteX111" fmla="*/ 9 w 10000"/>
              <a:gd name="connsiteY111" fmla="*/ 968 h 10000"/>
              <a:gd name="connsiteX112" fmla="*/ 9 w 10000"/>
              <a:gd name="connsiteY112" fmla="*/ 968 h 10000"/>
              <a:gd name="connsiteX113" fmla="*/ 23 w 10000"/>
              <a:gd name="connsiteY113" fmla="*/ 848 h 10000"/>
              <a:gd name="connsiteX114" fmla="*/ 41 w 10000"/>
              <a:gd name="connsiteY114" fmla="*/ 727 h 10000"/>
              <a:gd name="connsiteX115" fmla="*/ 68 w 10000"/>
              <a:gd name="connsiteY115" fmla="*/ 607 h 10000"/>
              <a:gd name="connsiteX116" fmla="*/ 95 w 10000"/>
              <a:gd name="connsiteY116" fmla="*/ 491 h 10000"/>
              <a:gd name="connsiteX117" fmla="*/ 131 w 10000"/>
              <a:gd name="connsiteY117" fmla="*/ 375 h 10000"/>
              <a:gd name="connsiteX118" fmla="*/ 171 w 10000"/>
              <a:gd name="connsiteY118" fmla="*/ 259 h 10000"/>
              <a:gd name="connsiteX119" fmla="*/ 212 w 10000"/>
              <a:gd name="connsiteY119" fmla="*/ 148 h 10000"/>
              <a:gd name="connsiteX120" fmla="*/ 266 w 10000"/>
              <a:gd name="connsiteY120" fmla="*/ 37 h 10000"/>
              <a:gd name="connsiteX121" fmla="*/ 266 w 10000"/>
              <a:gd name="connsiteY121" fmla="*/ 37 h 10000"/>
              <a:gd name="connsiteX122" fmla="*/ 275 w 10000"/>
              <a:gd name="connsiteY122" fmla="*/ 0 h 10000"/>
              <a:gd name="connsiteX123" fmla="*/ 275 w 10000"/>
              <a:gd name="connsiteY123"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7052 w 10000"/>
              <a:gd name="connsiteY31" fmla="*/ 8902 h 10000"/>
              <a:gd name="connsiteX32" fmla="*/ 6805 w 10000"/>
              <a:gd name="connsiteY32" fmla="*/ 8736 h 10000"/>
              <a:gd name="connsiteX33" fmla="*/ 6562 w 10000"/>
              <a:gd name="connsiteY33" fmla="*/ 8564 h 10000"/>
              <a:gd name="connsiteX34" fmla="*/ 6319 w 10000"/>
              <a:gd name="connsiteY34" fmla="*/ 8388 h 10000"/>
              <a:gd name="connsiteX35" fmla="*/ 6085 w 10000"/>
              <a:gd name="connsiteY35" fmla="*/ 8208 h 10000"/>
              <a:gd name="connsiteX36" fmla="*/ 5851 w 10000"/>
              <a:gd name="connsiteY36" fmla="*/ 8022 h 10000"/>
              <a:gd name="connsiteX37" fmla="*/ 5621 w 10000"/>
              <a:gd name="connsiteY37" fmla="*/ 7832 h 10000"/>
              <a:gd name="connsiteX38" fmla="*/ 5392 w 10000"/>
              <a:gd name="connsiteY38" fmla="*/ 7642 h 10000"/>
              <a:gd name="connsiteX39" fmla="*/ 5167 w 10000"/>
              <a:gd name="connsiteY39" fmla="*/ 7443 h 10000"/>
              <a:gd name="connsiteX40" fmla="*/ 5167 w 10000"/>
              <a:gd name="connsiteY40" fmla="*/ 7443 h 10000"/>
              <a:gd name="connsiteX41" fmla="*/ 4905 w 10000"/>
              <a:gd name="connsiteY41" fmla="*/ 7216 h 10000"/>
              <a:gd name="connsiteX42" fmla="*/ 4905 w 10000"/>
              <a:gd name="connsiteY42" fmla="*/ 7216 h 10000"/>
              <a:gd name="connsiteX43" fmla="*/ 4995 w 10000"/>
              <a:gd name="connsiteY43" fmla="*/ 7040 h 10000"/>
              <a:gd name="connsiteX44" fmla="*/ 5077 w 10000"/>
              <a:gd name="connsiteY44" fmla="*/ 6864 h 10000"/>
              <a:gd name="connsiteX45" fmla="*/ 5077 w 10000"/>
              <a:gd name="connsiteY45" fmla="*/ 6864 h 10000"/>
              <a:gd name="connsiteX46" fmla="*/ 5113 w 10000"/>
              <a:gd name="connsiteY46" fmla="*/ 6781 h 10000"/>
              <a:gd name="connsiteX47" fmla="*/ 5144 w 10000"/>
              <a:gd name="connsiteY47" fmla="*/ 6693 h 10000"/>
              <a:gd name="connsiteX48" fmla="*/ 5176 w 10000"/>
              <a:gd name="connsiteY48" fmla="*/ 6605 h 10000"/>
              <a:gd name="connsiteX49" fmla="*/ 5203 w 10000"/>
              <a:gd name="connsiteY49" fmla="*/ 6517 h 10000"/>
              <a:gd name="connsiteX50" fmla="*/ 5225 w 10000"/>
              <a:gd name="connsiteY50" fmla="*/ 6424 h 10000"/>
              <a:gd name="connsiteX51" fmla="*/ 5243 w 10000"/>
              <a:gd name="connsiteY51" fmla="*/ 6336 h 10000"/>
              <a:gd name="connsiteX52" fmla="*/ 5252 w 10000"/>
              <a:gd name="connsiteY52" fmla="*/ 6244 h 10000"/>
              <a:gd name="connsiteX53" fmla="*/ 5261 w 10000"/>
              <a:gd name="connsiteY53" fmla="*/ 6146 h 10000"/>
              <a:gd name="connsiteX54" fmla="*/ 5261 w 10000"/>
              <a:gd name="connsiteY54" fmla="*/ 6146 h 10000"/>
              <a:gd name="connsiteX55" fmla="*/ 5266 w 10000"/>
              <a:gd name="connsiteY55" fmla="*/ 6040 h 10000"/>
              <a:gd name="connsiteX56" fmla="*/ 5257 w 10000"/>
              <a:gd name="connsiteY56" fmla="*/ 5933 h 10000"/>
              <a:gd name="connsiteX57" fmla="*/ 5243 w 10000"/>
              <a:gd name="connsiteY57" fmla="*/ 5831 h 10000"/>
              <a:gd name="connsiteX58" fmla="*/ 5221 w 10000"/>
              <a:gd name="connsiteY58" fmla="*/ 5730 h 10000"/>
              <a:gd name="connsiteX59" fmla="*/ 5189 w 10000"/>
              <a:gd name="connsiteY59" fmla="*/ 5632 h 10000"/>
              <a:gd name="connsiteX60" fmla="*/ 5149 w 10000"/>
              <a:gd name="connsiteY60" fmla="*/ 5535 h 10000"/>
              <a:gd name="connsiteX61" fmla="*/ 5099 w 10000"/>
              <a:gd name="connsiteY61" fmla="*/ 5442 h 10000"/>
              <a:gd name="connsiteX62" fmla="*/ 5045 w 10000"/>
              <a:gd name="connsiteY62" fmla="*/ 5350 h 10000"/>
              <a:gd name="connsiteX63" fmla="*/ 5045 w 10000"/>
              <a:gd name="connsiteY63" fmla="*/ 5350 h 10000"/>
              <a:gd name="connsiteX64" fmla="*/ 4986 w 10000"/>
              <a:gd name="connsiteY64" fmla="*/ 5266 h 10000"/>
              <a:gd name="connsiteX65" fmla="*/ 4923 w 10000"/>
              <a:gd name="connsiteY65" fmla="*/ 5183 h 10000"/>
              <a:gd name="connsiteX66" fmla="*/ 4856 w 10000"/>
              <a:gd name="connsiteY66" fmla="*/ 5109 h 10000"/>
              <a:gd name="connsiteX67" fmla="*/ 4784 w 10000"/>
              <a:gd name="connsiteY67" fmla="*/ 5035 h 10000"/>
              <a:gd name="connsiteX68" fmla="*/ 4707 w 10000"/>
              <a:gd name="connsiteY68" fmla="*/ 4965 h 10000"/>
              <a:gd name="connsiteX69" fmla="*/ 4631 w 10000"/>
              <a:gd name="connsiteY69" fmla="*/ 4900 h 10000"/>
              <a:gd name="connsiteX70" fmla="*/ 4550 w 10000"/>
              <a:gd name="connsiteY70" fmla="*/ 4836 h 10000"/>
              <a:gd name="connsiteX71" fmla="*/ 4469 w 10000"/>
              <a:gd name="connsiteY71" fmla="*/ 4775 h 10000"/>
              <a:gd name="connsiteX72" fmla="*/ 4469 w 10000"/>
              <a:gd name="connsiteY72" fmla="*/ 4775 h 10000"/>
              <a:gd name="connsiteX73" fmla="*/ 4347 w 10000"/>
              <a:gd name="connsiteY73" fmla="*/ 4687 h 10000"/>
              <a:gd name="connsiteX74" fmla="*/ 4226 w 10000"/>
              <a:gd name="connsiteY74" fmla="*/ 4609 h 10000"/>
              <a:gd name="connsiteX75" fmla="*/ 4104 w 10000"/>
              <a:gd name="connsiteY75" fmla="*/ 4530 h 10000"/>
              <a:gd name="connsiteX76" fmla="*/ 3978 w 10000"/>
              <a:gd name="connsiteY76" fmla="*/ 4456 h 10000"/>
              <a:gd name="connsiteX77" fmla="*/ 3852 w 10000"/>
              <a:gd name="connsiteY77" fmla="*/ 4386 h 10000"/>
              <a:gd name="connsiteX78" fmla="*/ 3722 w 10000"/>
              <a:gd name="connsiteY78" fmla="*/ 4317 h 10000"/>
              <a:gd name="connsiteX79" fmla="*/ 3591 w 10000"/>
              <a:gd name="connsiteY79" fmla="*/ 4252 h 10000"/>
              <a:gd name="connsiteX80" fmla="*/ 3461 w 10000"/>
              <a:gd name="connsiteY80" fmla="*/ 4187 h 10000"/>
              <a:gd name="connsiteX81" fmla="*/ 3461 w 10000"/>
              <a:gd name="connsiteY81" fmla="*/ 4187 h 10000"/>
              <a:gd name="connsiteX82" fmla="*/ 3029 w 10000"/>
              <a:gd name="connsiteY82" fmla="*/ 3993 h 10000"/>
              <a:gd name="connsiteX83" fmla="*/ 2601 w 10000"/>
              <a:gd name="connsiteY83" fmla="*/ 3798 h 10000"/>
              <a:gd name="connsiteX84" fmla="*/ 1742 w 10000"/>
              <a:gd name="connsiteY84" fmla="*/ 3414 h 10000"/>
              <a:gd name="connsiteX85" fmla="*/ 1742 w 10000"/>
              <a:gd name="connsiteY85" fmla="*/ 3414 h 10000"/>
              <a:gd name="connsiteX86" fmla="*/ 1598 w 10000"/>
              <a:gd name="connsiteY86" fmla="*/ 3349 h 10000"/>
              <a:gd name="connsiteX87" fmla="*/ 1454 w 10000"/>
              <a:gd name="connsiteY87" fmla="*/ 3279 h 10000"/>
              <a:gd name="connsiteX88" fmla="*/ 1314 w 10000"/>
              <a:gd name="connsiteY88" fmla="*/ 3205 h 10000"/>
              <a:gd name="connsiteX89" fmla="*/ 1179 w 10000"/>
              <a:gd name="connsiteY89" fmla="*/ 3126 h 10000"/>
              <a:gd name="connsiteX90" fmla="*/ 1049 w 10000"/>
              <a:gd name="connsiteY90" fmla="*/ 3038 h 10000"/>
              <a:gd name="connsiteX91" fmla="*/ 923 w 10000"/>
              <a:gd name="connsiteY91" fmla="*/ 2946 h 10000"/>
              <a:gd name="connsiteX92" fmla="*/ 797 w 10000"/>
              <a:gd name="connsiteY92" fmla="*/ 2849 h 10000"/>
              <a:gd name="connsiteX93" fmla="*/ 680 w 10000"/>
              <a:gd name="connsiteY93" fmla="*/ 2742 h 10000"/>
              <a:gd name="connsiteX94" fmla="*/ 680 w 10000"/>
              <a:gd name="connsiteY94" fmla="*/ 2742 h 10000"/>
              <a:gd name="connsiteX95" fmla="*/ 590 w 10000"/>
              <a:gd name="connsiteY95" fmla="*/ 2649 h 10000"/>
              <a:gd name="connsiteX96" fmla="*/ 504 w 10000"/>
              <a:gd name="connsiteY96" fmla="*/ 2557 h 10000"/>
              <a:gd name="connsiteX97" fmla="*/ 423 w 10000"/>
              <a:gd name="connsiteY97" fmla="*/ 2459 h 10000"/>
              <a:gd name="connsiteX98" fmla="*/ 356 w 10000"/>
              <a:gd name="connsiteY98" fmla="*/ 2362 h 10000"/>
              <a:gd name="connsiteX99" fmla="*/ 288 w 10000"/>
              <a:gd name="connsiteY99" fmla="*/ 2260 h 10000"/>
              <a:gd name="connsiteX100" fmla="*/ 230 w 10000"/>
              <a:gd name="connsiteY100" fmla="*/ 2154 h 10000"/>
              <a:gd name="connsiteX101" fmla="*/ 180 w 10000"/>
              <a:gd name="connsiteY101" fmla="*/ 2047 h 10000"/>
              <a:gd name="connsiteX102" fmla="*/ 131 w 10000"/>
              <a:gd name="connsiteY102" fmla="*/ 1941 h 10000"/>
              <a:gd name="connsiteX103" fmla="*/ 95 w 10000"/>
              <a:gd name="connsiteY103" fmla="*/ 1830 h 10000"/>
              <a:gd name="connsiteX104" fmla="*/ 63 w 10000"/>
              <a:gd name="connsiteY104" fmla="*/ 1714 h 10000"/>
              <a:gd name="connsiteX105" fmla="*/ 36 w 10000"/>
              <a:gd name="connsiteY105" fmla="*/ 1593 h 10000"/>
              <a:gd name="connsiteX106" fmla="*/ 18 w 10000"/>
              <a:gd name="connsiteY106" fmla="*/ 1473 h 10000"/>
              <a:gd name="connsiteX107" fmla="*/ 5 w 10000"/>
              <a:gd name="connsiteY107" fmla="*/ 1352 h 10000"/>
              <a:gd name="connsiteX108" fmla="*/ 0 w 10000"/>
              <a:gd name="connsiteY108" fmla="*/ 1227 h 10000"/>
              <a:gd name="connsiteX109" fmla="*/ 0 w 10000"/>
              <a:gd name="connsiteY109" fmla="*/ 1098 h 10000"/>
              <a:gd name="connsiteX110" fmla="*/ 9 w 10000"/>
              <a:gd name="connsiteY110" fmla="*/ 968 h 10000"/>
              <a:gd name="connsiteX111" fmla="*/ 9 w 10000"/>
              <a:gd name="connsiteY111" fmla="*/ 968 h 10000"/>
              <a:gd name="connsiteX112" fmla="*/ 23 w 10000"/>
              <a:gd name="connsiteY112" fmla="*/ 848 h 10000"/>
              <a:gd name="connsiteX113" fmla="*/ 41 w 10000"/>
              <a:gd name="connsiteY113" fmla="*/ 727 h 10000"/>
              <a:gd name="connsiteX114" fmla="*/ 68 w 10000"/>
              <a:gd name="connsiteY114" fmla="*/ 607 h 10000"/>
              <a:gd name="connsiteX115" fmla="*/ 95 w 10000"/>
              <a:gd name="connsiteY115" fmla="*/ 491 h 10000"/>
              <a:gd name="connsiteX116" fmla="*/ 131 w 10000"/>
              <a:gd name="connsiteY116" fmla="*/ 375 h 10000"/>
              <a:gd name="connsiteX117" fmla="*/ 171 w 10000"/>
              <a:gd name="connsiteY117" fmla="*/ 259 h 10000"/>
              <a:gd name="connsiteX118" fmla="*/ 212 w 10000"/>
              <a:gd name="connsiteY118" fmla="*/ 148 h 10000"/>
              <a:gd name="connsiteX119" fmla="*/ 266 w 10000"/>
              <a:gd name="connsiteY119" fmla="*/ 37 h 10000"/>
              <a:gd name="connsiteX120" fmla="*/ 266 w 10000"/>
              <a:gd name="connsiteY120" fmla="*/ 37 h 10000"/>
              <a:gd name="connsiteX121" fmla="*/ 275 w 10000"/>
              <a:gd name="connsiteY121" fmla="*/ 0 h 10000"/>
              <a:gd name="connsiteX122" fmla="*/ 275 w 10000"/>
              <a:gd name="connsiteY122"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7052 w 10000"/>
              <a:gd name="connsiteY30" fmla="*/ 8902 h 10000"/>
              <a:gd name="connsiteX31" fmla="*/ 6805 w 10000"/>
              <a:gd name="connsiteY31" fmla="*/ 8736 h 10000"/>
              <a:gd name="connsiteX32" fmla="*/ 6562 w 10000"/>
              <a:gd name="connsiteY32" fmla="*/ 8564 h 10000"/>
              <a:gd name="connsiteX33" fmla="*/ 6319 w 10000"/>
              <a:gd name="connsiteY33" fmla="*/ 8388 h 10000"/>
              <a:gd name="connsiteX34" fmla="*/ 6085 w 10000"/>
              <a:gd name="connsiteY34" fmla="*/ 8208 h 10000"/>
              <a:gd name="connsiteX35" fmla="*/ 5851 w 10000"/>
              <a:gd name="connsiteY35" fmla="*/ 8022 h 10000"/>
              <a:gd name="connsiteX36" fmla="*/ 5621 w 10000"/>
              <a:gd name="connsiteY36" fmla="*/ 7832 h 10000"/>
              <a:gd name="connsiteX37" fmla="*/ 5392 w 10000"/>
              <a:gd name="connsiteY37" fmla="*/ 7642 h 10000"/>
              <a:gd name="connsiteX38" fmla="*/ 5167 w 10000"/>
              <a:gd name="connsiteY38" fmla="*/ 7443 h 10000"/>
              <a:gd name="connsiteX39" fmla="*/ 5167 w 10000"/>
              <a:gd name="connsiteY39" fmla="*/ 7443 h 10000"/>
              <a:gd name="connsiteX40" fmla="*/ 4905 w 10000"/>
              <a:gd name="connsiteY40" fmla="*/ 7216 h 10000"/>
              <a:gd name="connsiteX41" fmla="*/ 4905 w 10000"/>
              <a:gd name="connsiteY41" fmla="*/ 7216 h 10000"/>
              <a:gd name="connsiteX42" fmla="*/ 4995 w 10000"/>
              <a:gd name="connsiteY42" fmla="*/ 7040 h 10000"/>
              <a:gd name="connsiteX43" fmla="*/ 5077 w 10000"/>
              <a:gd name="connsiteY43" fmla="*/ 6864 h 10000"/>
              <a:gd name="connsiteX44" fmla="*/ 5077 w 10000"/>
              <a:gd name="connsiteY44" fmla="*/ 6864 h 10000"/>
              <a:gd name="connsiteX45" fmla="*/ 5113 w 10000"/>
              <a:gd name="connsiteY45" fmla="*/ 6781 h 10000"/>
              <a:gd name="connsiteX46" fmla="*/ 5144 w 10000"/>
              <a:gd name="connsiteY46" fmla="*/ 6693 h 10000"/>
              <a:gd name="connsiteX47" fmla="*/ 5176 w 10000"/>
              <a:gd name="connsiteY47" fmla="*/ 6605 h 10000"/>
              <a:gd name="connsiteX48" fmla="*/ 5203 w 10000"/>
              <a:gd name="connsiteY48" fmla="*/ 6517 h 10000"/>
              <a:gd name="connsiteX49" fmla="*/ 5225 w 10000"/>
              <a:gd name="connsiteY49" fmla="*/ 6424 h 10000"/>
              <a:gd name="connsiteX50" fmla="*/ 5243 w 10000"/>
              <a:gd name="connsiteY50" fmla="*/ 6336 h 10000"/>
              <a:gd name="connsiteX51" fmla="*/ 5252 w 10000"/>
              <a:gd name="connsiteY51" fmla="*/ 6244 h 10000"/>
              <a:gd name="connsiteX52" fmla="*/ 5261 w 10000"/>
              <a:gd name="connsiteY52" fmla="*/ 6146 h 10000"/>
              <a:gd name="connsiteX53" fmla="*/ 5261 w 10000"/>
              <a:gd name="connsiteY53" fmla="*/ 6146 h 10000"/>
              <a:gd name="connsiteX54" fmla="*/ 5266 w 10000"/>
              <a:gd name="connsiteY54" fmla="*/ 6040 h 10000"/>
              <a:gd name="connsiteX55" fmla="*/ 5257 w 10000"/>
              <a:gd name="connsiteY55" fmla="*/ 5933 h 10000"/>
              <a:gd name="connsiteX56" fmla="*/ 5243 w 10000"/>
              <a:gd name="connsiteY56" fmla="*/ 5831 h 10000"/>
              <a:gd name="connsiteX57" fmla="*/ 5221 w 10000"/>
              <a:gd name="connsiteY57" fmla="*/ 5730 h 10000"/>
              <a:gd name="connsiteX58" fmla="*/ 5189 w 10000"/>
              <a:gd name="connsiteY58" fmla="*/ 5632 h 10000"/>
              <a:gd name="connsiteX59" fmla="*/ 5149 w 10000"/>
              <a:gd name="connsiteY59" fmla="*/ 5535 h 10000"/>
              <a:gd name="connsiteX60" fmla="*/ 5099 w 10000"/>
              <a:gd name="connsiteY60" fmla="*/ 5442 h 10000"/>
              <a:gd name="connsiteX61" fmla="*/ 5045 w 10000"/>
              <a:gd name="connsiteY61" fmla="*/ 5350 h 10000"/>
              <a:gd name="connsiteX62" fmla="*/ 5045 w 10000"/>
              <a:gd name="connsiteY62" fmla="*/ 5350 h 10000"/>
              <a:gd name="connsiteX63" fmla="*/ 4986 w 10000"/>
              <a:gd name="connsiteY63" fmla="*/ 5266 h 10000"/>
              <a:gd name="connsiteX64" fmla="*/ 4923 w 10000"/>
              <a:gd name="connsiteY64" fmla="*/ 5183 h 10000"/>
              <a:gd name="connsiteX65" fmla="*/ 4856 w 10000"/>
              <a:gd name="connsiteY65" fmla="*/ 5109 h 10000"/>
              <a:gd name="connsiteX66" fmla="*/ 4784 w 10000"/>
              <a:gd name="connsiteY66" fmla="*/ 5035 h 10000"/>
              <a:gd name="connsiteX67" fmla="*/ 4707 w 10000"/>
              <a:gd name="connsiteY67" fmla="*/ 4965 h 10000"/>
              <a:gd name="connsiteX68" fmla="*/ 4631 w 10000"/>
              <a:gd name="connsiteY68" fmla="*/ 4900 h 10000"/>
              <a:gd name="connsiteX69" fmla="*/ 4550 w 10000"/>
              <a:gd name="connsiteY69" fmla="*/ 4836 h 10000"/>
              <a:gd name="connsiteX70" fmla="*/ 4469 w 10000"/>
              <a:gd name="connsiteY70" fmla="*/ 4775 h 10000"/>
              <a:gd name="connsiteX71" fmla="*/ 4469 w 10000"/>
              <a:gd name="connsiteY71" fmla="*/ 4775 h 10000"/>
              <a:gd name="connsiteX72" fmla="*/ 4347 w 10000"/>
              <a:gd name="connsiteY72" fmla="*/ 4687 h 10000"/>
              <a:gd name="connsiteX73" fmla="*/ 4226 w 10000"/>
              <a:gd name="connsiteY73" fmla="*/ 4609 h 10000"/>
              <a:gd name="connsiteX74" fmla="*/ 4104 w 10000"/>
              <a:gd name="connsiteY74" fmla="*/ 4530 h 10000"/>
              <a:gd name="connsiteX75" fmla="*/ 3978 w 10000"/>
              <a:gd name="connsiteY75" fmla="*/ 4456 h 10000"/>
              <a:gd name="connsiteX76" fmla="*/ 3852 w 10000"/>
              <a:gd name="connsiteY76" fmla="*/ 4386 h 10000"/>
              <a:gd name="connsiteX77" fmla="*/ 3722 w 10000"/>
              <a:gd name="connsiteY77" fmla="*/ 4317 h 10000"/>
              <a:gd name="connsiteX78" fmla="*/ 3591 w 10000"/>
              <a:gd name="connsiteY78" fmla="*/ 4252 h 10000"/>
              <a:gd name="connsiteX79" fmla="*/ 3461 w 10000"/>
              <a:gd name="connsiteY79" fmla="*/ 4187 h 10000"/>
              <a:gd name="connsiteX80" fmla="*/ 3461 w 10000"/>
              <a:gd name="connsiteY80" fmla="*/ 4187 h 10000"/>
              <a:gd name="connsiteX81" fmla="*/ 3029 w 10000"/>
              <a:gd name="connsiteY81" fmla="*/ 3993 h 10000"/>
              <a:gd name="connsiteX82" fmla="*/ 2601 w 10000"/>
              <a:gd name="connsiteY82" fmla="*/ 3798 h 10000"/>
              <a:gd name="connsiteX83" fmla="*/ 1742 w 10000"/>
              <a:gd name="connsiteY83" fmla="*/ 3414 h 10000"/>
              <a:gd name="connsiteX84" fmla="*/ 1742 w 10000"/>
              <a:gd name="connsiteY84" fmla="*/ 3414 h 10000"/>
              <a:gd name="connsiteX85" fmla="*/ 1598 w 10000"/>
              <a:gd name="connsiteY85" fmla="*/ 3349 h 10000"/>
              <a:gd name="connsiteX86" fmla="*/ 1454 w 10000"/>
              <a:gd name="connsiteY86" fmla="*/ 3279 h 10000"/>
              <a:gd name="connsiteX87" fmla="*/ 1314 w 10000"/>
              <a:gd name="connsiteY87" fmla="*/ 3205 h 10000"/>
              <a:gd name="connsiteX88" fmla="*/ 1179 w 10000"/>
              <a:gd name="connsiteY88" fmla="*/ 3126 h 10000"/>
              <a:gd name="connsiteX89" fmla="*/ 1049 w 10000"/>
              <a:gd name="connsiteY89" fmla="*/ 3038 h 10000"/>
              <a:gd name="connsiteX90" fmla="*/ 923 w 10000"/>
              <a:gd name="connsiteY90" fmla="*/ 2946 h 10000"/>
              <a:gd name="connsiteX91" fmla="*/ 797 w 10000"/>
              <a:gd name="connsiteY91" fmla="*/ 2849 h 10000"/>
              <a:gd name="connsiteX92" fmla="*/ 680 w 10000"/>
              <a:gd name="connsiteY92" fmla="*/ 2742 h 10000"/>
              <a:gd name="connsiteX93" fmla="*/ 680 w 10000"/>
              <a:gd name="connsiteY93" fmla="*/ 2742 h 10000"/>
              <a:gd name="connsiteX94" fmla="*/ 590 w 10000"/>
              <a:gd name="connsiteY94" fmla="*/ 2649 h 10000"/>
              <a:gd name="connsiteX95" fmla="*/ 504 w 10000"/>
              <a:gd name="connsiteY95" fmla="*/ 2557 h 10000"/>
              <a:gd name="connsiteX96" fmla="*/ 423 w 10000"/>
              <a:gd name="connsiteY96" fmla="*/ 2459 h 10000"/>
              <a:gd name="connsiteX97" fmla="*/ 356 w 10000"/>
              <a:gd name="connsiteY97" fmla="*/ 2362 h 10000"/>
              <a:gd name="connsiteX98" fmla="*/ 288 w 10000"/>
              <a:gd name="connsiteY98" fmla="*/ 2260 h 10000"/>
              <a:gd name="connsiteX99" fmla="*/ 230 w 10000"/>
              <a:gd name="connsiteY99" fmla="*/ 2154 h 10000"/>
              <a:gd name="connsiteX100" fmla="*/ 180 w 10000"/>
              <a:gd name="connsiteY100" fmla="*/ 2047 h 10000"/>
              <a:gd name="connsiteX101" fmla="*/ 131 w 10000"/>
              <a:gd name="connsiteY101" fmla="*/ 1941 h 10000"/>
              <a:gd name="connsiteX102" fmla="*/ 95 w 10000"/>
              <a:gd name="connsiteY102" fmla="*/ 1830 h 10000"/>
              <a:gd name="connsiteX103" fmla="*/ 63 w 10000"/>
              <a:gd name="connsiteY103" fmla="*/ 1714 h 10000"/>
              <a:gd name="connsiteX104" fmla="*/ 36 w 10000"/>
              <a:gd name="connsiteY104" fmla="*/ 1593 h 10000"/>
              <a:gd name="connsiteX105" fmla="*/ 18 w 10000"/>
              <a:gd name="connsiteY105" fmla="*/ 1473 h 10000"/>
              <a:gd name="connsiteX106" fmla="*/ 5 w 10000"/>
              <a:gd name="connsiteY106" fmla="*/ 1352 h 10000"/>
              <a:gd name="connsiteX107" fmla="*/ 0 w 10000"/>
              <a:gd name="connsiteY107" fmla="*/ 1227 h 10000"/>
              <a:gd name="connsiteX108" fmla="*/ 0 w 10000"/>
              <a:gd name="connsiteY108" fmla="*/ 1098 h 10000"/>
              <a:gd name="connsiteX109" fmla="*/ 9 w 10000"/>
              <a:gd name="connsiteY109" fmla="*/ 968 h 10000"/>
              <a:gd name="connsiteX110" fmla="*/ 9 w 10000"/>
              <a:gd name="connsiteY110" fmla="*/ 968 h 10000"/>
              <a:gd name="connsiteX111" fmla="*/ 23 w 10000"/>
              <a:gd name="connsiteY111" fmla="*/ 848 h 10000"/>
              <a:gd name="connsiteX112" fmla="*/ 41 w 10000"/>
              <a:gd name="connsiteY112" fmla="*/ 727 h 10000"/>
              <a:gd name="connsiteX113" fmla="*/ 68 w 10000"/>
              <a:gd name="connsiteY113" fmla="*/ 607 h 10000"/>
              <a:gd name="connsiteX114" fmla="*/ 95 w 10000"/>
              <a:gd name="connsiteY114" fmla="*/ 491 h 10000"/>
              <a:gd name="connsiteX115" fmla="*/ 131 w 10000"/>
              <a:gd name="connsiteY115" fmla="*/ 375 h 10000"/>
              <a:gd name="connsiteX116" fmla="*/ 171 w 10000"/>
              <a:gd name="connsiteY116" fmla="*/ 259 h 10000"/>
              <a:gd name="connsiteX117" fmla="*/ 212 w 10000"/>
              <a:gd name="connsiteY117" fmla="*/ 148 h 10000"/>
              <a:gd name="connsiteX118" fmla="*/ 266 w 10000"/>
              <a:gd name="connsiteY118" fmla="*/ 37 h 10000"/>
              <a:gd name="connsiteX119" fmla="*/ 266 w 10000"/>
              <a:gd name="connsiteY119" fmla="*/ 37 h 10000"/>
              <a:gd name="connsiteX120" fmla="*/ 275 w 10000"/>
              <a:gd name="connsiteY120" fmla="*/ 0 h 10000"/>
              <a:gd name="connsiteX121" fmla="*/ 275 w 10000"/>
              <a:gd name="connsiteY121"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7052 w 10000"/>
              <a:gd name="connsiteY29" fmla="*/ 8902 h 10000"/>
              <a:gd name="connsiteX30" fmla="*/ 6805 w 10000"/>
              <a:gd name="connsiteY30" fmla="*/ 8736 h 10000"/>
              <a:gd name="connsiteX31" fmla="*/ 6562 w 10000"/>
              <a:gd name="connsiteY31" fmla="*/ 8564 h 10000"/>
              <a:gd name="connsiteX32" fmla="*/ 6319 w 10000"/>
              <a:gd name="connsiteY32" fmla="*/ 8388 h 10000"/>
              <a:gd name="connsiteX33" fmla="*/ 6085 w 10000"/>
              <a:gd name="connsiteY33" fmla="*/ 8208 h 10000"/>
              <a:gd name="connsiteX34" fmla="*/ 5851 w 10000"/>
              <a:gd name="connsiteY34" fmla="*/ 8022 h 10000"/>
              <a:gd name="connsiteX35" fmla="*/ 5621 w 10000"/>
              <a:gd name="connsiteY35" fmla="*/ 7832 h 10000"/>
              <a:gd name="connsiteX36" fmla="*/ 5392 w 10000"/>
              <a:gd name="connsiteY36" fmla="*/ 7642 h 10000"/>
              <a:gd name="connsiteX37" fmla="*/ 5167 w 10000"/>
              <a:gd name="connsiteY37" fmla="*/ 7443 h 10000"/>
              <a:gd name="connsiteX38" fmla="*/ 5167 w 10000"/>
              <a:gd name="connsiteY38" fmla="*/ 7443 h 10000"/>
              <a:gd name="connsiteX39" fmla="*/ 4905 w 10000"/>
              <a:gd name="connsiteY39" fmla="*/ 7216 h 10000"/>
              <a:gd name="connsiteX40" fmla="*/ 4905 w 10000"/>
              <a:gd name="connsiteY40" fmla="*/ 7216 h 10000"/>
              <a:gd name="connsiteX41" fmla="*/ 4995 w 10000"/>
              <a:gd name="connsiteY41" fmla="*/ 7040 h 10000"/>
              <a:gd name="connsiteX42" fmla="*/ 5077 w 10000"/>
              <a:gd name="connsiteY42" fmla="*/ 6864 h 10000"/>
              <a:gd name="connsiteX43" fmla="*/ 5077 w 10000"/>
              <a:gd name="connsiteY43" fmla="*/ 6864 h 10000"/>
              <a:gd name="connsiteX44" fmla="*/ 5113 w 10000"/>
              <a:gd name="connsiteY44" fmla="*/ 6781 h 10000"/>
              <a:gd name="connsiteX45" fmla="*/ 5144 w 10000"/>
              <a:gd name="connsiteY45" fmla="*/ 6693 h 10000"/>
              <a:gd name="connsiteX46" fmla="*/ 5176 w 10000"/>
              <a:gd name="connsiteY46" fmla="*/ 6605 h 10000"/>
              <a:gd name="connsiteX47" fmla="*/ 5203 w 10000"/>
              <a:gd name="connsiteY47" fmla="*/ 6517 h 10000"/>
              <a:gd name="connsiteX48" fmla="*/ 5225 w 10000"/>
              <a:gd name="connsiteY48" fmla="*/ 6424 h 10000"/>
              <a:gd name="connsiteX49" fmla="*/ 5243 w 10000"/>
              <a:gd name="connsiteY49" fmla="*/ 6336 h 10000"/>
              <a:gd name="connsiteX50" fmla="*/ 5252 w 10000"/>
              <a:gd name="connsiteY50" fmla="*/ 6244 h 10000"/>
              <a:gd name="connsiteX51" fmla="*/ 5261 w 10000"/>
              <a:gd name="connsiteY51" fmla="*/ 6146 h 10000"/>
              <a:gd name="connsiteX52" fmla="*/ 5261 w 10000"/>
              <a:gd name="connsiteY52" fmla="*/ 6146 h 10000"/>
              <a:gd name="connsiteX53" fmla="*/ 5266 w 10000"/>
              <a:gd name="connsiteY53" fmla="*/ 6040 h 10000"/>
              <a:gd name="connsiteX54" fmla="*/ 5257 w 10000"/>
              <a:gd name="connsiteY54" fmla="*/ 5933 h 10000"/>
              <a:gd name="connsiteX55" fmla="*/ 5243 w 10000"/>
              <a:gd name="connsiteY55" fmla="*/ 5831 h 10000"/>
              <a:gd name="connsiteX56" fmla="*/ 5221 w 10000"/>
              <a:gd name="connsiteY56" fmla="*/ 5730 h 10000"/>
              <a:gd name="connsiteX57" fmla="*/ 5189 w 10000"/>
              <a:gd name="connsiteY57" fmla="*/ 5632 h 10000"/>
              <a:gd name="connsiteX58" fmla="*/ 5149 w 10000"/>
              <a:gd name="connsiteY58" fmla="*/ 5535 h 10000"/>
              <a:gd name="connsiteX59" fmla="*/ 5099 w 10000"/>
              <a:gd name="connsiteY59" fmla="*/ 5442 h 10000"/>
              <a:gd name="connsiteX60" fmla="*/ 5045 w 10000"/>
              <a:gd name="connsiteY60" fmla="*/ 5350 h 10000"/>
              <a:gd name="connsiteX61" fmla="*/ 5045 w 10000"/>
              <a:gd name="connsiteY61" fmla="*/ 5350 h 10000"/>
              <a:gd name="connsiteX62" fmla="*/ 4986 w 10000"/>
              <a:gd name="connsiteY62" fmla="*/ 5266 h 10000"/>
              <a:gd name="connsiteX63" fmla="*/ 4923 w 10000"/>
              <a:gd name="connsiteY63" fmla="*/ 5183 h 10000"/>
              <a:gd name="connsiteX64" fmla="*/ 4856 w 10000"/>
              <a:gd name="connsiteY64" fmla="*/ 5109 h 10000"/>
              <a:gd name="connsiteX65" fmla="*/ 4784 w 10000"/>
              <a:gd name="connsiteY65" fmla="*/ 5035 h 10000"/>
              <a:gd name="connsiteX66" fmla="*/ 4707 w 10000"/>
              <a:gd name="connsiteY66" fmla="*/ 4965 h 10000"/>
              <a:gd name="connsiteX67" fmla="*/ 4631 w 10000"/>
              <a:gd name="connsiteY67" fmla="*/ 4900 h 10000"/>
              <a:gd name="connsiteX68" fmla="*/ 4550 w 10000"/>
              <a:gd name="connsiteY68" fmla="*/ 4836 h 10000"/>
              <a:gd name="connsiteX69" fmla="*/ 4469 w 10000"/>
              <a:gd name="connsiteY69" fmla="*/ 4775 h 10000"/>
              <a:gd name="connsiteX70" fmla="*/ 4469 w 10000"/>
              <a:gd name="connsiteY70" fmla="*/ 4775 h 10000"/>
              <a:gd name="connsiteX71" fmla="*/ 4347 w 10000"/>
              <a:gd name="connsiteY71" fmla="*/ 4687 h 10000"/>
              <a:gd name="connsiteX72" fmla="*/ 4226 w 10000"/>
              <a:gd name="connsiteY72" fmla="*/ 4609 h 10000"/>
              <a:gd name="connsiteX73" fmla="*/ 4104 w 10000"/>
              <a:gd name="connsiteY73" fmla="*/ 4530 h 10000"/>
              <a:gd name="connsiteX74" fmla="*/ 3978 w 10000"/>
              <a:gd name="connsiteY74" fmla="*/ 4456 h 10000"/>
              <a:gd name="connsiteX75" fmla="*/ 3852 w 10000"/>
              <a:gd name="connsiteY75" fmla="*/ 4386 h 10000"/>
              <a:gd name="connsiteX76" fmla="*/ 3722 w 10000"/>
              <a:gd name="connsiteY76" fmla="*/ 4317 h 10000"/>
              <a:gd name="connsiteX77" fmla="*/ 3591 w 10000"/>
              <a:gd name="connsiteY77" fmla="*/ 4252 h 10000"/>
              <a:gd name="connsiteX78" fmla="*/ 3461 w 10000"/>
              <a:gd name="connsiteY78" fmla="*/ 4187 h 10000"/>
              <a:gd name="connsiteX79" fmla="*/ 3461 w 10000"/>
              <a:gd name="connsiteY79" fmla="*/ 4187 h 10000"/>
              <a:gd name="connsiteX80" fmla="*/ 3029 w 10000"/>
              <a:gd name="connsiteY80" fmla="*/ 3993 h 10000"/>
              <a:gd name="connsiteX81" fmla="*/ 2601 w 10000"/>
              <a:gd name="connsiteY81" fmla="*/ 3798 h 10000"/>
              <a:gd name="connsiteX82" fmla="*/ 1742 w 10000"/>
              <a:gd name="connsiteY82" fmla="*/ 3414 h 10000"/>
              <a:gd name="connsiteX83" fmla="*/ 1742 w 10000"/>
              <a:gd name="connsiteY83" fmla="*/ 3414 h 10000"/>
              <a:gd name="connsiteX84" fmla="*/ 1598 w 10000"/>
              <a:gd name="connsiteY84" fmla="*/ 3349 h 10000"/>
              <a:gd name="connsiteX85" fmla="*/ 1454 w 10000"/>
              <a:gd name="connsiteY85" fmla="*/ 3279 h 10000"/>
              <a:gd name="connsiteX86" fmla="*/ 1314 w 10000"/>
              <a:gd name="connsiteY86" fmla="*/ 3205 h 10000"/>
              <a:gd name="connsiteX87" fmla="*/ 1179 w 10000"/>
              <a:gd name="connsiteY87" fmla="*/ 3126 h 10000"/>
              <a:gd name="connsiteX88" fmla="*/ 1049 w 10000"/>
              <a:gd name="connsiteY88" fmla="*/ 3038 h 10000"/>
              <a:gd name="connsiteX89" fmla="*/ 923 w 10000"/>
              <a:gd name="connsiteY89" fmla="*/ 2946 h 10000"/>
              <a:gd name="connsiteX90" fmla="*/ 797 w 10000"/>
              <a:gd name="connsiteY90" fmla="*/ 2849 h 10000"/>
              <a:gd name="connsiteX91" fmla="*/ 680 w 10000"/>
              <a:gd name="connsiteY91" fmla="*/ 2742 h 10000"/>
              <a:gd name="connsiteX92" fmla="*/ 680 w 10000"/>
              <a:gd name="connsiteY92" fmla="*/ 2742 h 10000"/>
              <a:gd name="connsiteX93" fmla="*/ 590 w 10000"/>
              <a:gd name="connsiteY93" fmla="*/ 2649 h 10000"/>
              <a:gd name="connsiteX94" fmla="*/ 504 w 10000"/>
              <a:gd name="connsiteY94" fmla="*/ 2557 h 10000"/>
              <a:gd name="connsiteX95" fmla="*/ 423 w 10000"/>
              <a:gd name="connsiteY95" fmla="*/ 2459 h 10000"/>
              <a:gd name="connsiteX96" fmla="*/ 356 w 10000"/>
              <a:gd name="connsiteY96" fmla="*/ 2362 h 10000"/>
              <a:gd name="connsiteX97" fmla="*/ 288 w 10000"/>
              <a:gd name="connsiteY97" fmla="*/ 2260 h 10000"/>
              <a:gd name="connsiteX98" fmla="*/ 230 w 10000"/>
              <a:gd name="connsiteY98" fmla="*/ 2154 h 10000"/>
              <a:gd name="connsiteX99" fmla="*/ 180 w 10000"/>
              <a:gd name="connsiteY99" fmla="*/ 2047 h 10000"/>
              <a:gd name="connsiteX100" fmla="*/ 131 w 10000"/>
              <a:gd name="connsiteY100" fmla="*/ 1941 h 10000"/>
              <a:gd name="connsiteX101" fmla="*/ 95 w 10000"/>
              <a:gd name="connsiteY101" fmla="*/ 1830 h 10000"/>
              <a:gd name="connsiteX102" fmla="*/ 63 w 10000"/>
              <a:gd name="connsiteY102" fmla="*/ 1714 h 10000"/>
              <a:gd name="connsiteX103" fmla="*/ 36 w 10000"/>
              <a:gd name="connsiteY103" fmla="*/ 1593 h 10000"/>
              <a:gd name="connsiteX104" fmla="*/ 18 w 10000"/>
              <a:gd name="connsiteY104" fmla="*/ 1473 h 10000"/>
              <a:gd name="connsiteX105" fmla="*/ 5 w 10000"/>
              <a:gd name="connsiteY105" fmla="*/ 1352 h 10000"/>
              <a:gd name="connsiteX106" fmla="*/ 0 w 10000"/>
              <a:gd name="connsiteY106" fmla="*/ 1227 h 10000"/>
              <a:gd name="connsiteX107" fmla="*/ 0 w 10000"/>
              <a:gd name="connsiteY107" fmla="*/ 1098 h 10000"/>
              <a:gd name="connsiteX108" fmla="*/ 9 w 10000"/>
              <a:gd name="connsiteY108" fmla="*/ 968 h 10000"/>
              <a:gd name="connsiteX109" fmla="*/ 9 w 10000"/>
              <a:gd name="connsiteY109" fmla="*/ 968 h 10000"/>
              <a:gd name="connsiteX110" fmla="*/ 23 w 10000"/>
              <a:gd name="connsiteY110" fmla="*/ 848 h 10000"/>
              <a:gd name="connsiteX111" fmla="*/ 41 w 10000"/>
              <a:gd name="connsiteY111" fmla="*/ 727 h 10000"/>
              <a:gd name="connsiteX112" fmla="*/ 68 w 10000"/>
              <a:gd name="connsiteY112" fmla="*/ 607 h 10000"/>
              <a:gd name="connsiteX113" fmla="*/ 95 w 10000"/>
              <a:gd name="connsiteY113" fmla="*/ 491 h 10000"/>
              <a:gd name="connsiteX114" fmla="*/ 131 w 10000"/>
              <a:gd name="connsiteY114" fmla="*/ 375 h 10000"/>
              <a:gd name="connsiteX115" fmla="*/ 171 w 10000"/>
              <a:gd name="connsiteY115" fmla="*/ 259 h 10000"/>
              <a:gd name="connsiteX116" fmla="*/ 212 w 10000"/>
              <a:gd name="connsiteY116" fmla="*/ 148 h 10000"/>
              <a:gd name="connsiteX117" fmla="*/ 266 w 10000"/>
              <a:gd name="connsiteY117" fmla="*/ 37 h 10000"/>
              <a:gd name="connsiteX118" fmla="*/ 266 w 10000"/>
              <a:gd name="connsiteY118" fmla="*/ 37 h 10000"/>
              <a:gd name="connsiteX119" fmla="*/ 275 w 10000"/>
              <a:gd name="connsiteY119" fmla="*/ 0 h 10000"/>
              <a:gd name="connsiteX120" fmla="*/ 275 w 10000"/>
              <a:gd name="connsiteY12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7052 w 10000"/>
              <a:gd name="connsiteY28" fmla="*/ 8902 h 10000"/>
              <a:gd name="connsiteX29" fmla="*/ 6805 w 10000"/>
              <a:gd name="connsiteY29" fmla="*/ 8736 h 10000"/>
              <a:gd name="connsiteX30" fmla="*/ 6562 w 10000"/>
              <a:gd name="connsiteY30" fmla="*/ 8564 h 10000"/>
              <a:gd name="connsiteX31" fmla="*/ 6319 w 10000"/>
              <a:gd name="connsiteY31" fmla="*/ 8388 h 10000"/>
              <a:gd name="connsiteX32" fmla="*/ 6085 w 10000"/>
              <a:gd name="connsiteY32" fmla="*/ 8208 h 10000"/>
              <a:gd name="connsiteX33" fmla="*/ 5851 w 10000"/>
              <a:gd name="connsiteY33" fmla="*/ 8022 h 10000"/>
              <a:gd name="connsiteX34" fmla="*/ 5621 w 10000"/>
              <a:gd name="connsiteY34" fmla="*/ 7832 h 10000"/>
              <a:gd name="connsiteX35" fmla="*/ 5392 w 10000"/>
              <a:gd name="connsiteY35" fmla="*/ 7642 h 10000"/>
              <a:gd name="connsiteX36" fmla="*/ 5167 w 10000"/>
              <a:gd name="connsiteY36" fmla="*/ 7443 h 10000"/>
              <a:gd name="connsiteX37" fmla="*/ 5167 w 10000"/>
              <a:gd name="connsiteY37" fmla="*/ 7443 h 10000"/>
              <a:gd name="connsiteX38" fmla="*/ 4905 w 10000"/>
              <a:gd name="connsiteY38" fmla="*/ 7216 h 10000"/>
              <a:gd name="connsiteX39" fmla="*/ 4905 w 10000"/>
              <a:gd name="connsiteY39" fmla="*/ 7216 h 10000"/>
              <a:gd name="connsiteX40" fmla="*/ 4995 w 10000"/>
              <a:gd name="connsiteY40" fmla="*/ 7040 h 10000"/>
              <a:gd name="connsiteX41" fmla="*/ 5077 w 10000"/>
              <a:gd name="connsiteY41" fmla="*/ 6864 h 10000"/>
              <a:gd name="connsiteX42" fmla="*/ 5077 w 10000"/>
              <a:gd name="connsiteY42" fmla="*/ 6864 h 10000"/>
              <a:gd name="connsiteX43" fmla="*/ 5113 w 10000"/>
              <a:gd name="connsiteY43" fmla="*/ 6781 h 10000"/>
              <a:gd name="connsiteX44" fmla="*/ 5144 w 10000"/>
              <a:gd name="connsiteY44" fmla="*/ 6693 h 10000"/>
              <a:gd name="connsiteX45" fmla="*/ 5176 w 10000"/>
              <a:gd name="connsiteY45" fmla="*/ 6605 h 10000"/>
              <a:gd name="connsiteX46" fmla="*/ 5203 w 10000"/>
              <a:gd name="connsiteY46" fmla="*/ 6517 h 10000"/>
              <a:gd name="connsiteX47" fmla="*/ 5225 w 10000"/>
              <a:gd name="connsiteY47" fmla="*/ 6424 h 10000"/>
              <a:gd name="connsiteX48" fmla="*/ 5243 w 10000"/>
              <a:gd name="connsiteY48" fmla="*/ 6336 h 10000"/>
              <a:gd name="connsiteX49" fmla="*/ 5252 w 10000"/>
              <a:gd name="connsiteY49" fmla="*/ 6244 h 10000"/>
              <a:gd name="connsiteX50" fmla="*/ 5261 w 10000"/>
              <a:gd name="connsiteY50" fmla="*/ 6146 h 10000"/>
              <a:gd name="connsiteX51" fmla="*/ 5261 w 10000"/>
              <a:gd name="connsiteY51" fmla="*/ 6146 h 10000"/>
              <a:gd name="connsiteX52" fmla="*/ 5266 w 10000"/>
              <a:gd name="connsiteY52" fmla="*/ 6040 h 10000"/>
              <a:gd name="connsiteX53" fmla="*/ 5257 w 10000"/>
              <a:gd name="connsiteY53" fmla="*/ 5933 h 10000"/>
              <a:gd name="connsiteX54" fmla="*/ 5243 w 10000"/>
              <a:gd name="connsiteY54" fmla="*/ 5831 h 10000"/>
              <a:gd name="connsiteX55" fmla="*/ 5221 w 10000"/>
              <a:gd name="connsiteY55" fmla="*/ 5730 h 10000"/>
              <a:gd name="connsiteX56" fmla="*/ 5189 w 10000"/>
              <a:gd name="connsiteY56" fmla="*/ 5632 h 10000"/>
              <a:gd name="connsiteX57" fmla="*/ 5149 w 10000"/>
              <a:gd name="connsiteY57" fmla="*/ 5535 h 10000"/>
              <a:gd name="connsiteX58" fmla="*/ 5099 w 10000"/>
              <a:gd name="connsiteY58" fmla="*/ 5442 h 10000"/>
              <a:gd name="connsiteX59" fmla="*/ 5045 w 10000"/>
              <a:gd name="connsiteY59" fmla="*/ 5350 h 10000"/>
              <a:gd name="connsiteX60" fmla="*/ 5045 w 10000"/>
              <a:gd name="connsiteY60" fmla="*/ 5350 h 10000"/>
              <a:gd name="connsiteX61" fmla="*/ 4986 w 10000"/>
              <a:gd name="connsiteY61" fmla="*/ 5266 h 10000"/>
              <a:gd name="connsiteX62" fmla="*/ 4923 w 10000"/>
              <a:gd name="connsiteY62" fmla="*/ 5183 h 10000"/>
              <a:gd name="connsiteX63" fmla="*/ 4856 w 10000"/>
              <a:gd name="connsiteY63" fmla="*/ 5109 h 10000"/>
              <a:gd name="connsiteX64" fmla="*/ 4784 w 10000"/>
              <a:gd name="connsiteY64" fmla="*/ 5035 h 10000"/>
              <a:gd name="connsiteX65" fmla="*/ 4707 w 10000"/>
              <a:gd name="connsiteY65" fmla="*/ 4965 h 10000"/>
              <a:gd name="connsiteX66" fmla="*/ 4631 w 10000"/>
              <a:gd name="connsiteY66" fmla="*/ 4900 h 10000"/>
              <a:gd name="connsiteX67" fmla="*/ 4550 w 10000"/>
              <a:gd name="connsiteY67" fmla="*/ 4836 h 10000"/>
              <a:gd name="connsiteX68" fmla="*/ 4469 w 10000"/>
              <a:gd name="connsiteY68" fmla="*/ 4775 h 10000"/>
              <a:gd name="connsiteX69" fmla="*/ 4469 w 10000"/>
              <a:gd name="connsiteY69" fmla="*/ 4775 h 10000"/>
              <a:gd name="connsiteX70" fmla="*/ 4347 w 10000"/>
              <a:gd name="connsiteY70" fmla="*/ 4687 h 10000"/>
              <a:gd name="connsiteX71" fmla="*/ 4226 w 10000"/>
              <a:gd name="connsiteY71" fmla="*/ 4609 h 10000"/>
              <a:gd name="connsiteX72" fmla="*/ 4104 w 10000"/>
              <a:gd name="connsiteY72" fmla="*/ 4530 h 10000"/>
              <a:gd name="connsiteX73" fmla="*/ 3978 w 10000"/>
              <a:gd name="connsiteY73" fmla="*/ 4456 h 10000"/>
              <a:gd name="connsiteX74" fmla="*/ 3852 w 10000"/>
              <a:gd name="connsiteY74" fmla="*/ 4386 h 10000"/>
              <a:gd name="connsiteX75" fmla="*/ 3722 w 10000"/>
              <a:gd name="connsiteY75" fmla="*/ 4317 h 10000"/>
              <a:gd name="connsiteX76" fmla="*/ 3591 w 10000"/>
              <a:gd name="connsiteY76" fmla="*/ 4252 h 10000"/>
              <a:gd name="connsiteX77" fmla="*/ 3461 w 10000"/>
              <a:gd name="connsiteY77" fmla="*/ 4187 h 10000"/>
              <a:gd name="connsiteX78" fmla="*/ 3461 w 10000"/>
              <a:gd name="connsiteY78" fmla="*/ 4187 h 10000"/>
              <a:gd name="connsiteX79" fmla="*/ 3029 w 10000"/>
              <a:gd name="connsiteY79" fmla="*/ 3993 h 10000"/>
              <a:gd name="connsiteX80" fmla="*/ 2601 w 10000"/>
              <a:gd name="connsiteY80" fmla="*/ 3798 h 10000"/>
              <a:gd name="connsiteX81" fmla="*/ 1742 w 10000"/>
              <a:gd name="connsiteY81" fmla="*/ 3414 h 10000"/>
              <a:gd name="connsiteX82" fmla="*/ 1742 w 10000"/>
              <a:gd name="connsiteY82" fmla="*/ 3414 h 10000"/>
              <a:gd name="connsiteX83" fmla="*/ 1598 w 10000"/>
              <a:gd name="connsiteY83" fmla="*/ 3349 h 10000"/>
              <a:gd name="connsiteX84" fmla="*/ 1454 w 10000"/>
              <a:gd name="connsiteY84" fmla="*/ 3279 h 10000"/>
              <a:gd name="connsiteX85" fmla="*/ 1314 w 10000"/>
              <a:gd name="connsiteY85" fmla="*/ 3205 h 10000"/>
              <a:gd name="connsiteX86" fmla="*/ 1179 w 10000"/>
              <a:gd name="connsiteY86" fmla="*/ 3126 h 10000"/>
              <a:gd name="connsiteX87" fmla="*/ 1049 w 10000"/>
              <a:gd name="connsiteY87" fmla="*/ 3038 h 10000"/>
              <a:gd name="connsiteX88" fmla="*/ 923 w 10000"/>
              <a:gd name="connsiteY88" fmla="*/ 2946 h 10000"/>
              <a:gd name="connsiteX89" fmla="*/ 797 w 10000"/>
              <a:gd name="connsiteY89" fmla="*/ 2849 h 10000"/>
              <a:gd name="connsiteX90" fmla="*/ 680 w 10000"/>
              <a:gd name="connsiteY90" fmla="*/ 2742 h 10000"/>
              <a:gd name="connsiteX91" fmla="*/ 680 w 10000"/>
              <a:gd name="connsiteY91" fmla="*/ 2742 h 10000"/>
              <a:gd name="connsiteX92" fmla="*/ 590 w 10000"/>
              <a:gd name="connsiteY92" fmla="*/ 2649 h 10000"/>
              <a:gd name="connsiteX93" fmla="*/ 504 w 10000"/>
              <a:gd name="connsiteY93" fmla="*/ 2557 h 10000"/>
              <a:gd name="connsiteX94" fmla="*/ 423 w 10000"/>
              <a:gd name="connsiteY94" fmla="*/ 2459 h 10000"/>
              <a:gd name="connsiteX95" fmla="*/ 356 w 10000"/>
              <a:gd name="connsiteY95" fmla="*/ 2362 h 10000"/>
              <a:gd name="connsiteX96" fmla="*/ 288 w 10000"/>
              <a:gd name="connsiteY96" fmla="*/ 2260 h 10000"/>
              <a:gd name="connsiteX97" fmla="*/ 230 w 10000"/>
              <a:gd name="connsiteY97" fmla="*/ 2154 h 10000"/>
              <a:gd name="connsiteX98" fmla="*/ 180 w 10000"/>
              <a:gd name="connsiteY98" fmla="*/ 2047 h 10000"/>
              <a:gd name="connsiteX99" fmla="*/ 131 w 10000"/>
              <a:gd name="connsiteY99" fmla="*/ 1941 h 10000"/>
              <a:gd name="connsiteX100" fmla="*/ 95 w 10000"/>
              <a:gd name="connsiteY100" fmla="*/ 1830 h 10000"/>
              <a:gd name="connsiteX101" fmla="*/ 63 w 10000"/>
              <a:gd name="connsiteY101" fmla="*/ 1714 h 10000"/>
              <a:gd name="connsiteX102" fmla="*/ 36 w 10000"/>
              <a:gd name="connsiteY102" fmla="*/ 1593 h 10000"/>
              <a:gd name="connsiteX103" fmla="*/ 18 w 10000"/>
              <a:gd name="connsiteY103" fmla="*/ 1473 h 10000"/>
              <a:gd name="connsiteX104" fmla="*/ 5 w 10000"/>
              <a:gd name="connsiteY104" fmla="*/ 1352 h 10000"/>
              <a:gd name="connsiteX105" fmla="*/ 0 w 10000"/>
              <a:gd name="connsiteY105" fmla="*/ 1227 h 10000"/>
              <a:gd name="connsiteX106" fmla="*/ 0 w 10000"/>
              <a:gd name="connsiteY106" fmla="*/ 1098 h 10000"/>
              <a:gd name="connsiteX107" fmla="*/ 9 w 10000"/>
              <a:gd name="connsiteY107" fmla="*/ 968 h 10000"/>
              <a:gd name="connsiteX108" fmla="*/ 9 w 10000"/>
              <a:gd name="connsiteY108" fmla="*/ 968 h 10000"/>
              <a:gd name="connsiteX109" fmla="*/ 23 w 10000"/>
              <a:gd name="connsiteY109" fmla="*/ 848 h 10000"/>
              <a:gd name="connsiteX110" fmla="*/ 41 w 10000"/>
              <a:gd name="connsiteY110" fmla="*/ 727 h 10000"/>
              <a:gd name="connsiteX111" fmla="*/ 68 w 10000"/>
              <a:gd name="connsiteY111" fmla="*/ 607 h 10000"/>
              <a:gd name="connsiteX112" fmla="*/ 95 w 10000"/>
              <a:gd name="connsiteY112" fmla="*/ 491 h 10000"/>
              <a:gd name="connsiteX113" fmla="*/ 131 w 10000"/>
              <a:gd name="connsiteY113" fmla="*/ 375 h 10000"/>
              <a:gd name="connsiteX114" fmla="*/ 171 w 10000"/>
              <a:gd name="connsiteY114" fmla="*/ 259 h 10000"/>
              <a:gd name="connsiteX115" fmla="*/ 212 w 10000"/>
              <a:gd name="connsiteY115" fmla="*/ 148 h 10000"/>
              <a:gd name="connsiteX116" fmla="*/ 266 w 10000"/>
              <a:gd name="connsiteY116" fmla="*/ 37 h 10000"/>
              <a:gd name="connsiteX117" fmla="*/ 266 w 10000"/>
              <a:gd name="connsiteY117" fmla="*/ 37 h 10000"/>
              <a:gd name="connsiteX118" fmla="*/ 275 w 10000"/>
              <a:gd name="connsiteY118" fmla="*/ 0 h 10000"/>
              <a:gd name="connsiteX119" fmla="*/ 275 w 10000"/>
              <a:gd name="connsiteY119"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7052 w 10000"/>
              <a:gd name="connsiteY27" fmla="*/ 8902 h 10000"/>
              <a:gd name="connsiteX28" fmla="*/ 6805 w 10000"/>
              <a:gd name="connsiteY28" fmla="*/ 8736 h 10000"/>
              <a:gd name="connsiteX29" fmla="*/ 6562 w 10000"/>
              <a:gd name="connsiteY29" fmla="*/ 8564 h 10000"/>
              <a:gd name="connsiteX30" fmla="*/ 6319 w 10000"/>
              <a:gd name="connsiteY30" fmla="*/ 8388 h 10000"/>
              <a:gd name="connsiteX31" fmla="*/ 6085 w 10000"/>
              <a:gd name="connsiteY31" fmla="*/ 8208 h 10000"/>
              <a:gd name="connsiteX32" fmla="*/ 5851 w 10000"/>
              <a:gd name="connsiteY32" fmla="*/ 8022 h 10000"/>
              <a:gd name="connsiteX33" fmla="*/ 5621 w 10000"/>
              <a:gd name="connsiteY33" fmla="*/ 7832 h 10000"/>
              <a:gd name="connsiteX34" fmla="*/ 5392 w 10000"/>
              <a:gd name="connsiteY34" fmla="*/ 7642 h 10000"/>
              <a:gd name="connsiteX35" fmla="*/ 5167 w 10000"/>
              <a:gd name="connsiteY35" fmla="*/ 7443 h 10000"/>
              <a:gd name="connsiteX36" fmla="*/ 5167 w 10000"/>
              <a:gd name="connsiteY36" fmla="*/ 7443 h 10000"/>
              <a:gd name="connsiteX37" fmla="*/ 4905 w 10000"/>
              <a:gd name="connsiteY37" fmla="*/ 7216 h 10000"/>
              <a:gd name="connsiteX38" fmla="*/ 4905 w 10000"/>
              <a:gd name="connsiteY38" fmla="*/ 7216 h 10000"/>
              <a:gd name="connsiteX39" fmla="*/ 4995 w 10000"/>
              <a:gd name="connsiteY39" fmla="*/ 7040 h 10000"/>
              <a:gd name="connsiteX40" fmla="*/ 5077 w 10000"/>
              <a:gd name="connsiteY40" fmla="*/ 6864 h 10000"/>
              <a:gd name="connsiteX41" fmla="*/ 5077 w 10000"/>
              <a:gd name="connsiteY41" fmla="*/ 6864 h 10000"/>
              <a:gd name="connsiteX42" fmla="*/ 5113 w 10000"/>
              <a:gd name="connsiteY42" fmla="*/ 6781 h 10000"/>
              <a:gd name="connsiteX43" fmla="*/ 5144 w 10000"/>
              <a:gd name="connsiteY43" fmla="*/ 6693 h 10000"/>
              <a:gd name="connsiteX44" fmla="*/ 5176 w 10000"/>
              <a:gd name="connsiteY44" fmla="*/ 6605 h 10000"/>
              <a:gd name="connsiteX45" fmla="*/ 5203 w 10000"/>
              <a:gd name="connsiteY45" fmla="*/ 6517 h 10000"/>
              <a:gd name="connsiteX46" fmla="*/ 5225 w 10000"/>
              <a:gd name="connsiteY46" fmla="*/ 6424 h 10000"/>
              <a:gd name="connsiteX47" fmla="*/ 5243 w 10000"/>
              <a:gd name="connsiteY47" fmla="*/ 6336 h 10000"/>
              <a:gd name="connsiteX48" fmla="*/ 5252 w 10000"/>
              <a:gd name="connsiteY48" fmla="*/ 6244 h 10000"/>
              <a:gd name="connsiteX49" fmla="*/ 5261 w 10000"/>
              <a:gd name="connsiteY49" fmla="*/ 6146 h 10000"/>
              <a:gd name="connsiteX50" fmla="*/ 5261 w 10000"/>
              <a:gd name="connsiteY50" fmla="*/ 6146 h 10000"/>
              <a:gd name="connsiteX51" fmla="*/ 5266 w 10000"/>
              <a:gd name="connsiteY51" fmla="*/ 6040 h 10000"/>
              <a:gd name="connsiteX52" fmla="*/ 5257 w 10000"/>
              <a:gd name="connsiteY52" fmla="*/ 5933 h 10000"/>
              <a:gd name="connsiteX53" fmla="*/ 5243 w 10000"/>
              <a:gd name="connsiteY53" fmla="*/ 5831 h 10000"/>
              <a:gd name="connsiteX54" fmla="*/ 5221 w 10000"/>
              <a:gd name="connsiteY54" fmla="*/ 5730 h 10000"/>
              <a:gd name="connsiteX55" fmla="*/ 5189 w 10000"/>
              <a:gd name="connsiteY55" fmla="*/ 5632 h 10000"/>
              <a:gd name="connsiteX56" fmla="*/ 5149 w 10000"/>
              <a:gd name="connsiteY56" fmla="*/ 5535 h 10000"/>
              <a:gd name="connsiteX57" fmla="*/ 5099 w 10000"/>
              <a:gd name="connsiteY57" fmla="*/ 5442 h 10000"/>
              <a:gd name="connsiteX58" fmla="*/ 5045 w 10000"/>
              <a:gd name="connsiteY58" fmla="*/ 5350 h 10000"/>
              <a:gd name="connsiteX59" fmla="*/ 5045 w 10000"/>
              <a:gd name="connsiteY59" fmla="*/ 5350 h 10000"/>
              <a:gd name="connsiteX60" fmla="*/ 4986 w 10000"/>
              <a:gd name="connsiteY60" fmla="*/ 5266 h 10000"/>
              <a:gd name="connsiteX61" fmla="*/ 4923 w 10000"/>
              <a:gd name="connsiteY61" fmla="*/ 5183 h 10000"/>
              <a:gd name="connsiteX62" fmla="*/ 4856 w 10000"/>
              <a:gd name="connsiteY62" fmla="*/ 5109 h 10000"/>
              <a:gd name="connsiteX63" fmla="*/ 4784 w 10000"/>
              <a:gd name="connsiteY63" fmla="*/ 5035 h 10000"/>
              <a:gd name="connsiteX64" fmla="*/ 4707 w 10000"/>
              <a:gd name="connsiteY64" fmla="*/ 4965 h 10000"/>
              <a:gd name="connsiteX65" fmla="*/ 4631 w 10000"/>
              <a:gd name="connsiteY65" fmla="*/ 4900 h 10000"/>
              <a:gd name="connsiteX66" fmla="*/ 4550 w 10000"/>
              <a:gd name="connsiteY66" fmla="*/ 4836 h 10000"/>
              <a:gd name="connsiteX67" fmla="*/ 4469 w 10000"/>
              <a:gd name="connsiteY67" fmla="*/ 4775 h 10000"/>
              <a:gd name="connsiteX68" fmla="*/ 4469 w 10000"/>
              <a:gd name="connsiteY68" fmla="*/ 4775 h 10000"/>
              <a:gd name="connsiteX69" fmla="*/ 4347 w 10000"/>
              <a:gd name="connsiteY69" fmla="*/ 4687 h 10000"/>
              <a:gd name="connsiteX70" fmla="*/ 4226 w 10000"/>
              <a:gd name="connsiteY70" fmla="*/ 4609 h 10000"/>
              <a:gd name="connsiteX71" fmla="*/ 4104 w 10000"/>
              <a:gd name="connsiteY71" fmla="*/ 4530 h 10000"/>
              <a:gd name="connsiteX72" fmla="*/ 3978 w 10000"/>
              <a:gd name="connsiteY72" fmla="*/ 4456 h 10000"/>
              <a:gd name="connsiteX73" fmla="*/ 3852 w 10000"/>
              <a:gd name="connsiteY73" fmla="*/ 4386 h 10000"/>
              <a:gd name="connsiteX74" fmla="*/ 3722 w 10000"/>
              <a:gd name="connsiteY74" fmla="*/ 4317 h 10000"/>
              <a:gd name="connsiteX75" fmla="*/ 3591 w 10000"/>
              <a:gd name="connsiteY75" fmla="*/ 4252 h 10000"/>
              <a:gd name="connsiteX76" fmla="*/ 3461 w 10000"/>
              <a:gd name="connsiteY76" fmla="*/ 4187 h 10000"/>
              <a:gd name="connsiteX77" fmla="*/ 3461 w 10000"/>
              <a:gd name="connsiteY77" fmla="*/ 4187 h 10000"/>
              <a:gd name="connsiteX78" fmla="*/ 3029 w 10000"/>
              <a:gd name="connsiteY78" fmla="*/ 3993 h 10000"/>
              <a:gd name="connsiteX79" fmla="*/ 2601 w 10000"/>
              <a:gd name="connsiteY79" fmla="*/ 3798 h 10000"/>
              <a:gd name="connsiteX80" fmla="*/ 1742 w 10000"/>
              <a:gd name="connsiteY80" fmla="*/ 3414 h 10000"/>
              <a:gd name="connsiteX81" fmla="*/ 1742 w 10000"/>
              <a:gd name="connsiteY81" fmla="*/ 3414 h 10000"/>
              <a:gd name="connsiteX82" fmla="*/ 1598 w 10000"/>
              <a:gd name="connsiteY82" fmla="*/ 3349 h 10000"/>
              <a:gd name="connsiteX83" fmla="*/ 1454 w 10000"/>
              <a:gd name="connsiteY83" fmla="*/ 3279 h 10000"/>
              <a:gd name="connsiteX84" fmla="*/ 1314 w 10000"/>
              <a:gd name="connsiteY84" fmla="*/ 3205 h 10000"/>
              <a:gd name="connsiteX85" fmla="*/ 1179 w 10000"/>
              <a:gd name="connsiteY85" fmla="*/ 3126 h 10000"/>
              <a:gd name="connsiteX86" fmla="*/ 1049 w 10000"/>
              <a:gd name="connsiteY86" fmla="*/ 3038 h 10000"/>
              <a:gd name="connsiteX87" fmla="*/ 923 w 10000"/>
              <a:gd name="connsiteY87" fmla="*/ 2946 h 10000"/>
              <a:gd name="connsiteX88" fmla="*/ 797 w 10000"/>
              <a:gd name="connsiteY88" fmla="*/ 2849 h 10000"/>
              <a:gd name="connsiteX89" fmla="*/ 680 w 10000"/>
              <a:gd name="connsiteY89" fmla="*/ 2742 h 10000"/>
              <a:gd name="connsiteX90" fmla="*/ 680 w 10000"/>
              <a:gd name="connsiteY90" fmla="*/ 2742 h 10000"/>
              <a:gd name="connsiteX91" fmla="*/ 590 w 10000"/>
              <a:gd name="connsiteY91" fmla="*/ 2649 h 10000"/>
              <a:gd name="connsiteX92" fmla="*/ 504 w 10000"/>
              <a:gd name="connsiteY92" fmla="*/ 2557 h 10000"/>
              <a:gd name="connsiteX93" fmla="*/ 423 w 10000"/>
              <a:gd name="connsiteY93" fmla="*/ 2459 h 10000"/>
              <a:gd name="connsiteX94" fmla="*/ 356 w 10000"/>
              <a:gd name="connsiteY94" fmla="*/ 2362 h 10000"/>
              <a:gd name="connsiteX95" fmla="*/ 288 w 10000"/>
              <a:gd name="connsiteY95" fmla="*/ 2260 h 10000"/>
              <a:gd name="connsiteX96" fmla="*/ 230 w 10000"/>
              <a:gd name="connsiteY96" fmla="*/ 2154 h 10000"/>
              <a:gd name="connsiteX97" fmla="*/ 180 w 10000"/>
              <a:gd name="connsiteY97" fmla="*/ 2047 h 10000"/>
              <a:gd name="connsiteX98" fmla="*/ 131 w 10000"/>
              <a:gd name="connsiteY98" fmla="*/ 1941 h 10000"/>
              <a:gd name="connsiteX99" fmla="*/ 95 w 10000"/>
              <a:gd name="connsiteY99" fmla="*/ 1830 h 10000"/>
              <a:gd name="connsiteX100" fmla="*/ 63 w 10000"/>
              <a:gd name="connsiteY100" fmla="*/ 1714 h 10000"/>
              <a:gd name="connsiteX101" fmla="*/ 36 w 10000"/>
              <a:gd name="connsiteY101" fmla="*/ 1593 h 10000"/>
              <a:gd name="connsiteX102" fmla="*/ 18 w 10000"/>
              <a:gd name="connsiteY102" fmla="*/ 1473 h 10000"/>
              <a:gd name="connsiteX103" fmla="*/ 5 w 10000"/>
              <a:gd name="connsiteY103" fmla="*/ 1352 h 10000"/>
              <a:gd name="connsiteX104" fmla="*/ 0 w 10000"/>
              <a:gd name="connsiteY104" fmla="*/ 1227 h 10000"/>
              <a:gd name="connsiteX105" fmla="*/ 0 w 10000"/>
              <a:gd name="connsiteY105" fmla="*/ 1098 h 10000"/>
              <a:gd name="connsiteX106" fmla="*/ 9 w 10000"/>
              <a:gd name="connsiteY106" fmla="*/ 968 h 10000"/>
              <a:gd name="connsiteX107" fmla="*/ 9 w 10000"/>
              <a:gd name="connsiteY107" fmla="*/ 968 h 10000"/>
              <a:gd name="connsiteX108" fmla="*/ 23 w 10000"/>
              <a:gd name="connsiteY108" fmla="*/ 848 h 10000"/>
              <a:gd name="connsiteX109" fmla="*/ 41 w 10000"/>
              <a:gd name="connsiteY109" fmla="*/ 727 h 10000"/>
              <a:gd name="connsiteX110" fmla="*/ 68 w 10000"/>
              <a:gd name="connsiteY110" fmla="*/ 607 h 10000"/>
              <a:gd name="connsiteX111" fmla="*/ 95 w 10000"/>
              <a:gd name="connsiteY111" fmla="*/ 491 h 10000"/>
              <a:gd name="connsiteX112" fmla="*/ 131 w 10000"/>
              <a:gd name="connsiteY112" fmla="*/ 375 h 10000"/>
              <a:gd name="connsiteX113" fmla="*/ 171 w 10000"/>
              <a:gd name="connsiteY113" fmla="*/ 259 h 10000"/>
              <a:gd name="connsiteX114" fmla="*/ 212 w 10000"/>
              <a:gd name="connsiteY114" fmla="*/ 148 h 10000"/>
              <a:gd name="connsiteX115" fmla="*/ 266 w 10000"/>
              <a:gd name="connsiteY115" fmla="*/ 37 h 10000"/>
              <a:gd name="connsiteX116" fmla="*/ 266 w 10000"/>
              <a:gd name="connsiteY116" fmla="*/ 37 h 10000"/>
              <a:gd name="connsiteX117" fmla="*/ 275 w 10000"/>
              <a:gd name="connsiteY117" fmla="*/ 0 h 10000"/>
              <a:gd name="connsiteX118" fmla="*/ 275 w 10000"/>
              <a:gd name="connsiteY118"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7052 w 10000"/>
              <a:gd name="connsiteY26" fmla="*/ 8902 h 10000"/>
              <a:gd name="connsiteX27" fmla="*/ 6805 w 10000"/>
              <a:gd name="connsiteY27" fmla="*/ 8736 h 10000"/>
              <a:gd name="connsiteX28" fmla="*/ 6562 w 10000"/>
              <a:gd name="connsiteY28" fmla="*/ 8564 h 10000"/>
              <a:gd name="connsiteX29" fmla="*/ 6319 w 10000"/>
              <a:gd name="connsiteY29" fmla="*/ 8388 h 10000"/>
              <a:gd name="connsiteX30" fmla="*/ 6085 w 10000"/>
              <a:gd name="connsiteY30" fmla="*/ 8208 h 10000"/>
              <a:gd name="connsiteX31" fmla="*/ 5851 w 10000"/>
              <a:gd name="connsiteY31" fmla="*/ 8022 h 10000"/>
              <a:gd name="connsiteX32" fmla="*/ 5621 w 10000"/>
              <a:gd name="connsiteY32" fmla="*/ 7832 h 10000"/>
              <a:gd name="connsiteX33" fmla="*/ 5392 w 10000"/>
              <a:gd name="connsiteY33" fmla="*/ 7642 h 10000"/>
              <a:gd name="connsiteX34" fmla="*/ 5167 w 10000"/>
              <a:gd name="connsiteY34" fmla="*/ 7443 h 10000"/>
              <a:gd name="connsiteX35" fmla="*/ 5167 w 10000"/>
              <a:gd name="connsiteY35" fmla="*/ 7443 h 10000"/>
              <a:gd name="connsiteX36" fmla="*/ 4905 w 10000"/>
              <a:gd name="connsiteY36" fmla="*/ 7216 h 10000"/>
              <a:gd name="connsiteX37" fmla="*/ 4905 w 10000"/>
              <a:gd name="connsiteY37" fmla="*/ 7216 h 10000"/>
              <a:gd name="connsiteX38" fmla="*/ 4995 w 10000"/>
              <a:gd name="connsiteY38" fmla="*/ 7040 h 10000"/>
              <a:gd name="connsiteX39" fmla="*/ 5077 w 10000"/>
              <a:gd name="connsiteY39" fmla="*/ 6864 h 10000"/>
              <a:gd name="connsiteX40" fmla="*/ 5077 w 10000"/>
              <a:gd name="connsiteY40" fmla="*/ 6864 h 10000"/>
              <a:gd name="connsiteX41" fmla="*/ 5113 w 10000"/>
              <a:gd name="connsiteY41" fmla="*/ 6781 h 10000"/>
              <a:gd name="connsiteX42" fmla="*/ 5144 w 10000"/>
              <a:gd name="connsiteY42" fmla="*/ 6693 h 10000"/>
              <a:gd name="connsiteX43" fmla="*/ 5176 w 10000"/>
              <a:gd name="connsiteY43" fmla="*/ 6605 h 10000"/>
              <a:gd name="connsiteX44" fmla="*/ 5203 w 10000"/>
              <a:gd name="connsiteY44" fmla="*/ 6517 h 10000"/>
              <a:gd name="connsiteX45" fmla="*/ 5225 w 10000"/>
              <a:gd name="connsiteY45" fmla="*/ 6424 h 10000"/>
              <a:gd name="connsiteX46" fmla="*/ 5243 w 10000"/>
              <a:gd name="connsiteY46" fmla="*/ 6336 h 10000"/>
              <a:gd name="connsiteX47" fmla="*/ 5252 w 10000"/>
              <a:gd name="connsiteY47" fmla="*/ 6244 h 10000"/>
              <a:gd name="connsiteX48" fmla="*/ 5261 w 10000"/>
              <a:gd name="connsiteY48" fmla="*/ 6146 h 10000"/>
              <a:gd name="connsiteX49" fmla="*/ 5261 w 10000"/>
              <a:gd name="connsiteY49" fmla="*/ 6146 h 10000"/>
              <a:gd name="connsiteX50" fmla="*/ 5266 w 10000"/>
              <a:gd name="connsiteY50" fmla="*/ 6040 h 10000"/>
              <a:gd name="connsiteX51" fmla="*/ 5257 w 10000"/>
              <a:gd name="connsiteY51" fmla="*/ 5933 h 10000"/>
              <a:gd name="connsiteX52" fmla="*/ 5243 w 10000"/>
              <a:gd name="connsiteY52" fmla="*/ 5831 h 10000"/>
              <a:gd name="connsiteX53" fmla="*/ 5221 w 10000"/>
              <a:gd name="connsiteY53" fmla="*/ 5730 h 10000"/>
              <a:gd name="connsiteX54" fmla="*/ 5189 w 10000"/>
              <a:gd name="connsiteY54" fmla="*/ 5632 h 10000"/>
              <a:gd name="connsiteX55" fmla="*/ 5149 w 10000"/>
              <a:gd name="connsiteY55" fmla="*/ 5535 h 10000"/>
              <a:gd name="connsiteX56" fmla="*/ 5099 w 10000"/>
              <a:gd name="connsiteY56" fmla="*/ 5442 h 10000"/>
              <a:gd name="connsiteX57" fmla="*/ 5045 w 10000"/>
              <a:gd name="connsiteY57" fmla="*/ 5350 h 10000"/>
              <a:gd name="connsiteX58" fmla="*/ 5045 w 10000"/>
              <a:gd name="connsiteY58" fmla="*/ 5350 h 10000"/>
              <a:gd name="connsiteX59" fmla="*/ 4986 w 10000"/>
              <a:gd name="connsiteY59" fmla="*/ 5266 h 10000"/>
              <a:gd name="connsiteX60" fmla="*/ 4923 w 10000"/>
              <a:gd name="connsiteY60" fmla="*/ 5183 h 10000"/>
              <a:gd name="connsiteX61" fmla="*/ 4856 w 10000"/>
              <a:gd name="connsiteY61" fmla="*/ 5109 h 10000"/>
              <a:gd name="connsiteX62" fmla="*/ 4784 w 10000"/>
              <a:gd name="connsiteY62" fmla="*/ 5035 h 10000"/>
              <a:gd name="connsiteX63" fmla="*/ 4707 w 10000"/>
              <a:gd name="connsiteY63" fmla="*/ 4965 h 10000"/>
              <a:gd name="connsiteX64" fmla="*/ 4631 w 10000"/>
              <a:gd name="connsiteY64" fmla="*/ 4900 h 10000"/>
              <a:gd name="connsiteX65" fmla="*/ 4550 w 10000"/>
              <a:gd name="connsiteY65" fmla="*/ 4836 h 10000"/>
              <a:gd name="connsiteX66" fmla="*/ 4469 w 10000"/>
              <a:gd name="connsiteY66" fmla="*/ 4775 h 10000"/>
              <a:gd name="connsiteX67" fmla="*/ 4469 w 10000"/>
              <a:gd name="connsiteY67" fmla="*/ 4775 h 10000"/>
              <a:gd name="connsiteX68" fmla="*/ 4347 w 10000"/>
              <a:gd name="connsiteY68" fmla="*/ 4687 h 10000"/>
              <a:gd name="connsiteX69" fmla="*/ 4226 w 10000"/>
              <a:gd name="connsiteY69" fmla="*/ 4609 h 10000"/>
              <a:gd name="connsiteX70" fmla="*/ 4104 w 10000"/>
              <a:gd name="connsiteY70" fmla="*/ 4530 h 10000"/>
              <a:gd name="connsiteX71" fmla="*/ 3978 w 10000"/>
              <a:gd name="connsiteY71" fmla="*/ 4456 h 10000"/>
              <a:gd name="connsiteX72" fmla="*/ 3852 w 10000"/>
              <a:gd name="connsiteY72" fmla="*/ 4386 h 10000"/>
              <a:gd name="connsiteX73" fmla="*/ 3722 w 10000"/>
              <a:gd name="connsiteY73" fmla="*/ 4317 h 10000"/>
              <a:gd name="connsiteX74" fmla="*/ 3591 w 10000"/>
              <a:gd name="connsiteY74" fmla="*/ 4252 h 10000"/>
              <a:gd name="connsiteX75" fmla="*/ 3461 w 10000"/>
              <a:gd name="connsiteY75" fmla="*/ 4187 h 10000"/>
              <a:gd name="connsiteX76" fmla="*/ 3461 w 10000"/>
              <a:gd name="connsiteY76" fmla="*/ 4187 h 10000"/>
              <a:gd name="connsiteX77" fmla="*/ 3029 w 10000"/>
              <a:gd name="connsiteY77" fmla="*/ 3993 h 10000"/>
              <a:gd name="connsiteX78" fmla="*/ 2601 w 10000"/>
              <a:gd name="connsiteY78" fmla="*/ 3798 h 10000"/>
              <a:gd name="connsiteX79" fmla="*/ 1742 w 10000"/>
              <a:gd name="connsiteY79" fmla="*/ 3414 h 10000"/>
              <a:gd name="connsiteX80" fmla="*/ 1742 w 10000"/>
              <a:gd name="connsiteY80" fmla="*/ 3414 h 10000"/>
              <a:gd name="connsiteX81" fmla="*/ 1598 w 10000"/>
              <a:gd name="connsiteY81" fmla="*/ 3349 h 10000"/>
              <a:gd name="connsiteX82" fmla="*/ 1454 w 10000"/>
              <a:gd name="connsiteY82" fmla="*/ 3279 h 10000"/>
              <a:gd name="connsiteX83" fmla="*/ 1314 w 10000"/>
              <a:gd name="connsiteY83" fmla="*/ 3205 h 10000"/>
              <a:gd name="connsiteX84" fmla="*/ 1179 w 10000"/>
              <a:gd name="connsiteY84" fmla="*/ 3126 h 10000"/>
              <a:gd name="connsiteX85" fmla="*/ 1049 w 10000"/>
              <a:gd name="connsiteY85" fmla="*/ 3038 h 10000"/>
              <a:gd name="connsiteX86" fmla="*/ 923 w 10000"/>
              <a:gd name="connsiteY86" fmla="*/ 2946 h 10000"/>
              <a:gd name="connsiteX87" fmla="*/ 797 w 10000"/>
              <a:gd name="connsiteY87" fmla="*/ 2849 h 10000"/>
              <a:gd name="connsiteX88" fmla="*/ 680 w 10000"/>
              <a:gd name="connsiteY88" fmla="*/ 2742 h 10000"/>
              <a:gd name="connsiteX89" fmla="*/ 680 w 10000"/>
              <a:gd name="connsiteY89" fmla="*/ 2742 h 10000"/>
              <a:gd name="connsiteX90" fmla="*/ 590 w 10000"/>
              <a:gd name="connsiteY90" fmla="*/ 2649 h 10000"/>
              <a:gd name="connsiteX91" fmla="*/ 504 w 10000"/>
              <a:gd name="connsiteY91" fmla="*/ 2557 h 10000"/>
              <a:gd name="connsiteX92" fmla="*/ 423 w 10000"/>
              <a:gd name="connsiteY92" fmla="*/ 2459 h 10000"/>
              <a:gd name="connsiteX93" fmla="*/ 356 w 10000"/>
              <a:gd name="connsiteY93" fmla="*/ 2362 h 10000"/>
              <a:gd name="connsiteX94" fmla="*/ 288 w 10000"/>
              <a:gd name="connsiteY94" fmla="*/ 2260 h 10000"/>
              <a:gd name="connsiteX95" fmla="*/ 230 w 10000"/>
              <a:gd name="connsiteY95" fmla="*/ 2154 h 10000"/>
              <a:gd name="connsiteX96" fmla="*/ 180 w 10000"/>
              <a:gd name="connsiteY96" fmla="*/ 2047 h 10000"/>
              <a:gd name="connsiteX97" fmla="*/ 131 w 10000"/>
              <a:gd name="connsiteY97" fmla="*/ 1941 h 10000"/>
              <a:gd name="connsiteX98" fmla="*/ 95 w 10000"/>
              <a:gd name="connsiteY98" fmla="*/ 1830 h 10000"/>
              <a:gd name="connsiteX99" fmla="*/ 63 w 10000"/>
              <a:gd name="connsiteY99" fmla="*/ 1714 h 10000"/>
              <a:gd name="connsiteX100" fmla="*/ 36 w 10000"/>
              <a:gd name="connsiteY100" fmla="*/ 1593 h 10000"/>
              <a:gd name="connsiteX101" fmla="*/ 18 w 10000"/>
              <a:gd name="connsiteY101" fmla="*/ 1473 h 10000"/>
              <a:gd name="connsiteX102" fmla="*/ 5 w 10000"/>
              <a:gd name="connsiteY102" fmla="*/ 1352 h 10000"/>
              <a:gd name="connsiteX103" fmla="*/ 0 w 10000"/>
              <a:gd name="connsiteY103" fmla="*/ 1227 h 10000"/>
              <a:gd name="connsiteX104" fmla="*/ 0 w 10000"/>
              <a:gd name="connsiteY104" fmla="*/ 1098 h 10000"/>
              <a:gd name="connsiteX105" fmla="*/ 9 w 10000"/>
              <a:gd name="connsiteY105" fmla="*/ 968 h 10000"/>
              <a:gd name="connsiteX106" fmla="*/ 9 w 10000"/>
              <a:gd name="connsiteY106" fmla="*/ 968 h 10000"/>
              <a:gd name="connsiteX107" fmla="*/ 23 w 10000"/>
              <a:gd name="connsiteY107" fmla="*/ 848 h 10000"/>
              <a:gd name="connsiteX108" fmla="*/ 41 w 10000"/>
              <a:gd name="connsiteY108" fmla="*/ 727 h 10000"/>
              <a:gd name="connsiteX109" fmla="*/ 68 w 10000"/>
              <a:gd name="connsiteY109" fmla="*/ 607 h 10000"/>
              <a:gd name="connsiteX110" fmla="*/ 95 w 10000"/>
              <a:gd name="connsiteY110" fmla="*/ 491 h 10000"/>
              <a:gd name="connsiteX111" fmla="*/ 131 w 10000"/>
              <a:gd name="connsiteY111" fmla="*/ 375 h 10000"/>
              <a:gd name="connsiteX112" fmla="*/ 171 w 10000"/>
              <a:gd name="connsiteY112" fmla="*/ 259 h 10000"/>
              <a:gd name="connsiteX113" fmla="*/ 212 w 10000"/>
              <a:gd name="connsiteY113" fmla="*/ 148 h 10000"/>
              <a:gd name="connsiteX114" fmla="*/ 266 w 10000"/>
              <a:gd name="connsiteY114" fmla="*/ 37 h 10000"/>
              <a:gd name="connsiteX115" fmla="*/ 266 w 10000"/>
              <a:gd name="connsiteY115" fmla="*/ 37 h 10000"/>
              <a:gd name="connsiteX116" fmla="*/ 275 w 10000"/>
              <a:gd name="connsiteY116" fmla="*/ 0 h 10000"/>
              <a:gd name="connsiteX117" fmla="*/ 275 w 10000"/>
              <a:gd name="connsiteY11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7052 w 10000"/>
              <a:gd name="connsiteY25" fmla="*/ 8902 h 10000"/>
              <a:gd name="connsiteX26" fmla="*/ 6805 w 10000"/>
              <a:gd name="connsiteY26" fmla="*/ 8736 h 10000"/>
              <a:gd name="connsiteX27" fmla="*/ 6562 w 10000"/>
              <a:gd name="connsiteY27" fmla="*/ 8564 h 10000"/>
              <a:gd name="connsiteX28" fmla="*/ 6319 w 10000"/>
              <a:gd name="connsiteY28" fmla="*/ 8388 h 10000"/>
              <a:gd name="connsiteX29" fmla="*/ 6085 w 10000"/>
              <a:gd name="connsiteY29" fmla="*/ 8208 h 10000"/>
              <a:gd name="connsiteX30" fmla="*/ 5851 w 10000"/>
              <a:gd name="connsiteY30" fmla="*/ 8022 h 10000"/>
              <a:gd name="connsiteX31" fmla="*/ 5621 w 10000"/>
              <a:gd name="connsiteY31" fmla="*/ 7832 h 10000"/>
              <a:gd name="connsiteX32" fmla="*/ 5392 w 10000"/>
              <a:gd name="connsiteY32" fmla="*/ 7642 h 10000"/>
              <a:gd name="connsiteX33" fmla="*/ 5167 w 10000"/>
              <a:gd name="connsiteY33" fmla="*/ 7443 h 10000"/>
              <a:gd name="connsiteX34" fmla="*/ 5167 w 10000"/>
              <a:gd name="connsiteY34" fmla="*/ 7443 h 10000"/>
              <a:gd name="connsiteX35" fmla="*/ 4905 w 10000"/>
              <a:gd name="connsiteY35" fmla="*/ 7216 h 10000"/>
              <a:gd name="connsiteX36" fmla="*/ 4905 w 10000"/>
              <a:gd name="connsiteY36" fmla="*/ 7216 h 10000"/>
              <a:gd name="connsiteX37" fmla="*/ 4995 w 10000"/>
              <a:gd name="connsiteY37" fmla="*/ 7040 h 10000"/>
              <a:gd name="connsiteX38" fmla="*/ 5077 w 10000"/>
              <a:gd name="connsiteY38" fmla="*/ 6864 h 10000"/>
              <a:gd name="connsiteX39" fmla="*/ 5077 w 10000"/>
              <a:gd name="connsiteY39" fmla="*/ 6864 h 10000"/>
              <a:gd name="connsiteX40" fmla="*/ 5113 w 10000"/>
              <a:gd name="connsiteY40" fmla="*/ 6781 h 10000"/>
              <a:gd name="connsiteX41" fmla="*/ 5144 w 10000"/>
              <a:gd name="connsiteY41" fmla="*/ 6693 h 10000"/>
              <a:gd name="connsiteX42" fmla="*/ 5176 w 10000"/>
              <a:gd name="connsiteY42" fmla="*/ 6605 h 10000"/>
              <a:gd name="connsiteX43" fmla="*/ 5203 w 10000"/>
              <a:gd name="connsiteY43" fmla="*/ 6517 h 10000"/>
              <a:gd name="connsiteX44" fmla="*/ 5225 w 10000"/>
              <a:gd name="connsiteY44" fmla="*/ 6424 h 10000"/>
              <a:gd name="connsiteX45" fmla="*/ 5243 w 10000"/>
              <a:gd name="connsiteY45" fmla="*/ 6336 h 10000"/>
              <a:gd name="connsiteX46" fmla="*/ 5252 w 10000"/>
              <a:gd name="connsiteY46" fmla="*/ 6244 h 10000"/>
              <a:gd name="connsiteX47" fmla="*/ 5261 w 10000"/>
              <a:gd name="connsiteY47" fmla="*/ 6146 h 10000"/>
              <a:gd name="connsiteX48" fmla="*/ 5261 w 10000"/>
              <a:gd name="connsiteY48" fmla="*/ 6146 h 10000"/>
              <a:gd name="connsiteX49" fmla="*/ 5266 w 10000"/>
              <a:gd name="connsiteY49" fmla="*/ 6040 h 10000"/>
              <a:gd name="connsiteX50" fmla="*/ 5257 w 10000"/>
              <a:gd name="connsiteY50" fmla="*/ 5933 h 10000"/>
              <a:gd name="connsiteX51" fmla="*/ 5243 w 10000"/>
              <a:gd name="connsiteY51" fmla="*/ 5831 h 10000"/>
              <a:gd name="connsiteX52" fmla="*/ 5221 w 10000"/>
              <a:gd name="connsiteY52" fmla="*/ 5730 h 10000"/>
              <a:gd name="connsiteX53" fmla="*/ 5189 w 10000"/>
              <a:gd name="connsiteY53" fmla="*/ 5632 h 10000"/>
              <a:gd name="connsiteX54" fmla="*/ 5149 w 10000"/>
              <a:gd name="connsiteY54" fmla="*/ 5535 h 10000"/>
              <a:gd name="connsiteX55" fmla="*/ 5099 w 10000"/>
              <a:gd name="connsiteY55" fmla="*/ 5442 h 10000"/>
              <a:gd name="connsiteX56" fmla="*/ 5045 w 10000"/>
              <a:gd name="connsiteY56" fmla="*/ 5350 h 10000"/>
              <a:gd name="connsiteX57" fmla="*/ 5045 w 10000"/>
              <a:gd name="connsiteY57" fmla="*/ 5350 h 10000"/>
              <a:gd name="connsiteX58" fmla="*/ 4986 w 10000"/>
              <a:gd name="connsiteY58" fmla="*/ 5266 h 10000"/>
              <a:gd name="connsiteX59" fmla="*/ 4923 w 10000"/>
              <a:gd name="connsiteY59" fmla="*/ 5183 h 10000"/>
              <a:gd name="connsiteX60" fmla="*/ 4856 w 10000"/>
              <a:gd name="connsiteY60" fmla="*/ 5109 h 10000"/>
              <a:gd name="connsiteX61" fmla="*/ 4784 w 10000"/>
              <a:gd name="connsiteY61" fmla="*/ 5035 h 10000"/>
              <a:gd name="connsiteX62" fmla="*/ 4707 w 10000"/>
              <a:gd name="connsiteY62" fmla="*/ 4965 h 10000"/>
              <a:gd name="connsiteX63" fmla="*/ 4631 w 10000"/>
              <a:gd name="connsiteY63" fmla="*/ 4900 h 10000"/>
              <a:gd name="connsiteX64" fmla="*/ 4550 w 10000"/>
              <a:gd name="connsiteY64" fmla="*/ 4836 h 10000"/>
              <a:gd name="connsiteX65" fmla="*/ 4469 w 10000"/>
              <a:gd name="connsiteY65" fmla="*/ 4775 h 10000"/>
              <a:gd name="connsiteX66" fmla="*/ 4469 w 10000"/>
              <a:gd name="connsiteY66" fmla="*/ 4775 h 10000"/>
              <a:gd name="connsiteX67" fmla="*/ 4347 w 10000"/>
              <a:gd name="connsiteY67" fmla="*/ 4687 h 10000"/>
              <a:gd name="connsiteX68" fmla="*/ 4226 w 10000"/>
              <a:gd name="connsiteY68" fmla="*/ 4609 h 10000"/>
              <a:gd name="connsiteX69" fmla="*/ 4104 w 10000"/>
              <a:gd name="connsiteY69" fmla="*/ 4530 h 10000"/>
              <a:gd name="connsiteX70" fmla="*/ 3978 w 10000"/>
              <a:gd name="connsiteY70" fmla="*/ 4456 h 10000"/>
              <a:gd name="connsiteX71" fmla="*/ 3852 w 10000"/>
              <a:gd name="connsiteY71" fmla="*/ 4386 h 10000"/>
              <a:gd name="connsiteX72" fmla="*/ 3722 w 10000"/>
              <a:gd name="connsiteY72" fmla="*/ 4317 h 10000"/>
              <a:gd name="connsiteX73" fmla="*/ 3591 w 10000"/>
              <a:gd name="connsiteY73" fmla="*/ 4252 h 10000"/>
              <a:gd name="connsiteX74" fmla="*/ 3461 w 10000"/>
              <a:gd name="connsiteY74" fmla="*/ 4187 h 10000"/>
              <a:gd name="connsiteX75" fmla="*/ 3461 w 10000"/>
              <a:gd name="connsiteY75" fmla="*/ 4187 h 10000"/>
              <a:gd name="connsiteX76" fmla="*/ 3029 w 10000"/>
              <a:gd name="connsiteY76" fmla="*/ 3993 h 10000"/>
              <a:gd name="connsiteX77" fmla="*/ 2601 w 10000"/>
              <a:gd name="connsiteY77" fmla="*/ 3798 h 10000"/>
              <a:gd name="connsiteX78" fmla="*/ 1742 w 10000"/>
              <a:gd name="connsiteY78" fmla="*/ 3414 h 10000"/>
              <a:gd name="connsiteX79" fmla="*/ 1742 w 10000"/>
              <a:gd name="connsiteY79" fmla="*/ 3414 h 10000"/>
              <a:gd name="connsiteX80" fmla="*/ 1598 w 10000"/>
              <a:gd name="connsiteY80" fmla="*/ 3349 h 10000"/>
              <a:gd name="connsiteX81" fmla="*/ 1454 w 10000"/>
              <a:gd name="connsiteY81" fmla="*/ 3279 h 10000"/>
              <a:gd name="connsiteX82" fmla="*/ 1314 w 10000"/>
              <a:gd name="connsiteY82" fmla="*/ 3205 h 10000"/>
              <a:gd name="connsiteX83" fmla="*/ 1179 w 10000"/>
              <a:gd name="connsiteY83" fmla="*/ 3126 h 10000"/>
              <a:gd name="connsiteX84" fmla="*/ 1049 w 10000"/>
              <a:gd name="connsiteY84" fmla="*/ 3038 h 10000"/>
              <a:gd name="connsiteX85" fmla="*/ 923 w 10000"/>
              <a:gd name="connsiteY85" fmla="*/ 2946 h 10000"/>
              <a:gd name="connsiteX86" fmla="*/ 797 w 10000"/>
              <a:gd name="connsiteY86" fmla="*/ 2849 h 10000"/>
              <a:gd name="connsiteX87" fmla="*/ 680 w 10000"/>
              <a:gd name="connsiteY87" fmla="*/ 2742 h 10000"/>
              <a:gd name="connsiteX88" fmla="*/ 680 w 10000"/>
              <a:gd name="connsiteY88" fmla="*/ 2742 h 10000"/>
              <a:gd name="connsiteX89" fmla="*/ 590 w 10000"/>
              <a:gd name="connsiteY89" fmla="*/ 2649 h 10000"/>
              <a:gd name="connsiteX90" fmla="*/ 504 w 10000"/>
              <a:gd name="connsiteY90" fmla="*/ 2557 h 10000"/>
              <a:gd name="connsiteX91" fmla="*/ 423 w 10000"/>
              <a:gd name="connsiteY91" fmla="*/ 2459 h 10000"/>
              <a:gd name="connsiteX92" fmla="*/ 356 w 10000"/>
              <a:gd name="connsiteY92" fmla="*/ 2362 h 10000"/>
              <a:gd name="connsiteX93" fmla="*/ 288 w 10000"/>
              <a:gd name="connsiteY93" fmla="*/ 2260 h 10000"/>
              <a:gd name="connsiteX94" fmla="*/ 230 w 10000"/>
              <a:gd name="connsiteY94" fmla="*/ 2154 h 10000"/>
              <a:gd name="connsiteX95" fmla="*/ 180 w 10000"/>
              <a:gd name="connsiteY95" fmla="*/ 2047 h 10000"/>
              <a:gd name="connsiteX96" fmla="*/ 131 w 10000"/>
              <a:gd name="connsiteY96" fmla="*/ 1941 h 10000"/>
              <a:gd name="connsiteX97" fmla="*/ 95 w 10000"/>
              <a:gd name="connsiteY97" fmla="*/ 1830 h 10000"/>
              <a:gd name="connsiteX98" fmla="*/ 63 w 10000"/>
              <a:gd name="connsiteY98" fmla="*/ 1714 h 10000"/>
              <a:gd name="connsiteX99" fmla="*/ 36 w 10000"/>
              <a:gd name="connsiteY99" fmla="*/ 1593 h 10000"/>
              <a:gd name="connsiteX100" fmla="*/ 18 w 10000"/>
              <a:gd name="connsiteY100" fmla="*/ 1473 h 10000"/>
              <a:gd name="connsiteX101" fmla="*/ 5 w 10000"/>
              <a:gd name="connsiteY101" fmla="*/ 1352 h 10000"/>
              <a:gd name="connsiteX102" fmla="*/ 0 w 10000"/>
              <a:gd name="connsiteY102" fmla="*/ 1227 h 10000"/>
              <a:gd name="connsiteX103" fmla="*/ 0 w 10000"/>
              <a:gd name="connsiteY103" fmla="*/ 1098 h 10000"/>
              <a:gd name="connsiteX104" fmla="*/ 9 w 10000"/>
              <a:gd name="connsiteY104" fmla="*/ 968 h 10000"/>
              <a:gd name="connsiteX105" fmla="*/ 9 w 10000"/>
              <a:gd name="connsiteY105" fmla="*/ 968 h 10000"/>
              <a:gd name="connsiteX106" fmla="*/ 23 w 10000"/>
              <a:gd name="connsiteY106" fmla="*/ 848 h 10000"/>
              <a:gd name="connsiteX107" fmla="*/ 41 w 10000"/>
              <a:gd name="connsiteY107" fmla="*/ 727 h 10000"/>
              <a:gd name="connsiteX108" fmla="*/ 68 w 10000"/>
              <a:gd name="connsiteY108" fmla="*/ 607 h 10000"/>
              <a:gd name="connsiteX109" fmla="*/ 95 w 10000"/>
              <a:gd name="connsiteY109" fmla="*/ 491 h 10000"/>
              <a:gd name="connsiteX110" fmla="*/ 131 w 10000"/>
              <a:gd name="connsiteY110" fmla="*/ 375 h 10000"/>
              <a:gd name="connsiteX111" fmla="*/ 171 w 10000"/>
              <a:gd name="connsiteY111" fmla="*/ 259 h 10000"/>
              <a:gd name="connsiteX112" fmla="*/ 212 w 10000"/>
              <a:gd name="connsiteY112" fmla="*/ 148 h 10000"/>
              <a:gd name="connsiteX113" fmla="*/ 266 w 10000"/>
              <a:gd name="connsiteY113" fmla="*/ 37 h 10000"/>
              <a:gd name="connsiteX114" fmla="*/ 266 w 10000"/>
              <a:gd name="connsiteY114" fmla="*/ 37 h 10000"/>
              <a:gd name="connsiteX115" fmla="*/ 275 w 10000"/>
              <a:gd name="connsiteY115" fmla="*/ 0 h 10000"/>
              <a:gd name="connsiteX116" fmla="*/ 275 w 10000"/>
              <a:gd name="connsiteY116" fmla="*/ 0 h 10000"/>
              <a:gd name="connsiteX0" fmla="*/ 275 w 10000"/>
              <a:gd name="connsiteY0" fmla="*/ 0 h 10091"/>
              <a:gd name="connsiteX1" fmla="*/ 275 w 10000"/>
              <a:gd name="connsiteY1" fmla="*/ 0 h 10091"/>
              <a:gd name="connsiteX2" fmla="*/ 10000 w 10000"/>
              <a:gd name="connsiteY2" fmla="*/ 0 h 10091"/>
              <a:gd name="connsiteX3" fmla="*/ 10000 w 10000"/>
              <a:gd name="connsiteY3" fmla="*/ 0 h 10091"/>
              <a:gd name="connsiteX4" fmla="*/ 10000 w 10000"/>
              <a:gd name="connsiteY4" fmla="*/ 74 h 10091"/>
              <a:gd name="connsiteX5" fmla="*/ 10000 w 10000"/>
              <a:gd name="connsiteY5" fmla="*/ 74 h 10091"/>
              <a:gd name="connsiteX6" fmla="*/ 10000 w 10000"/>
              <a:gd name="connsiteY6" fmla="*/ 9893 h 10091"/>
              <a:gd name="connsiteX7" fmla="*/ 10000 w 10000"/>
              <a:gd name="connsiteY7" fmla="*/ 9893 h 10091"/>
              <a:gd name="connsiteX8" fmla="*/ 10000 w 10000"/>
              <a:gd name="connsiteY8" fmla="*/ 9940 h 10091"/>
              <a:gd name="connsiteX9" fmla="*/ 10000 w 10000"/>
              <a:gd name="connsiteY9" fmla="*/ 9940 h 10091"/>
              <a:gd name="connsiteX10" fmla="*/ 10000 w 10000"/>
              <a:gd name="connsiteY10" fmla="*/ 9958 h 10091"/>
              <a:gd name="connsiteX11" fmla="*/ 9991 w 10000"/>
              <a:gd name="connsiteY11" fmla="*/ 9972 h 10091"/>
              <a:gd name="connsiteX12" fmla="*/ 9982 w 10000"/>
              <a:gd name="connsiteY12" fmla="*/ 9981 h 10091"/>
              <a:gd name="connsiteX13" fmla="*/ 9959 w 10000"/>
              <a:gd name="connsiteY13" fmla="*/ 9991 h 10091"/>
              <a:gd name="connsiteX14" fmla="*/ 9959 w 10000"/>
              <a:gd name="connsiteY14" fmla="*/ 9991 h 10091"/>
              <a:gd name="connsiteX15" fmla="*/ 9905 w 10000"/>
              <a:gd name="connsiteY15" fmla="*/ 9995 h 10091"/>
              <a:gd name="connsiteX16" fmla="*/ 9847 w 10000"/>
              <a:gd name="connsiteY16" fmla="*/ 10000 h 10091"/>
              <a:gd name="connsiteX17" fmla="*/ 9734 w 10000"/>
              <a:gd name="connsiteY17" fmla="*/ 10000 h 10091"/>
              <a:gd name="connsiteX18" fmla="*/ 9626 w 10000"/>
              <a:gd name="connsiteY18" fmla="*/ 9995 h 10091"/>
              <a:gd name="connsiteX19" fmla="*/ 9514 w 10000"/>
              <a:gd name="connsiteY19" fmla="*/ 9981 h 10091"/>
              <a:gd name="connsiteX20" fmla="*/ 9514 w 10000"/>
              <a:gd name="connsiteY20" fmla="*/ 9981 h 10091"/>
              <a:gd name="connsiteX21" fmla="*/ 9397 w 10000"/>
              <a:gd name="connsiteY21" fmla="*/ 9963 h 10091"/>
              <a:gd name="connsiteX22" fmla="*/ 9284 w 10000"/>
              <a:gd name="connsiteY22" fmla="*/ 9944 h 10091"/>
              <a:gd name="connsiteX23" fmla="*/ 9172 w 10000"/>
              <a:gd name="connsiteY23" fmla="*/ 9917 h 10091"/>
              <a:gd name="connsiteX24" fmla="*/ 7052 w 10000"/>
              <a:gd name="connsiteY24" fmla="*/ 8902 h 10091"/>
              <a:gd name="connsiteX25" fmla="*/ 6805 w 10000"/>
              <a:gd name="connsiteY25" fmla="*/ 8736 h 10091"/>
              <a:gd name="connsiteX26" fmla="*/ 6562 w 10000"/>
              <a:gd name="connsiteY26" fmla="*/ 8564 h 10091"/>
              <a:gd name="connsiteX27" fmla="*/ 6319 w 10000"/>
              <a:gd name="connsiteY27" fmla="*/ 8388 h 10091"/>
              <a:gd name="connsiteX28" fmla="*/ 6085 w 10000"/>
              <a:gd name="connsiteY28" fmla="*/ 8208 h 10091"/>
              <a:gd name="connsiteX29" fmla="*/ 5851 w 10000"/>
              <a:gd name="connsiteY29" fmla="*/ 8022 h 10091"/>
              <a:gd name="connsiteX30" fmla="*/ 5621 w 10000"/>
              <a:gd name="connsiteY30" fmla="*/ 7832 h 10091"/>
              <a:gd name="connsiteX31" fmla="*/ 5392 w 10000"/>
              <a:gd name="connsiteY31" fmla="*/ 7642 h 10091"/>
              <a:gd name="connsiteX32" fmla="*/ 5167 w 10000"/>
              <a:gd name="connsiteY32" fmla="*/ 7443 h 10091"/>
              <a:gd name="connsiteX33" fmla="*/ 5167 w 10000"/>
              <a:gd name="connsiteY33" fmla="*/ 7443 h 10091"/>
              <a:gd name="connsiteX34" fmla="*/ 4905 w 10000"/>
              <a:gd name="connsiteY34" fmla="*/ 7216 h 10091"/>
              <a:gd name="connsiteX35" fmla="*/ 4905 w 10000"/>
              <a:gd name="connsiteY35" fmla="*/ 7216 h 10091"/>
              <a:gd name="connsiteX36" fmla="*/ 4995 w 10000"/>
              <a:gd name="connsiteY36" fmla="*/ 7040 h 10091"/>
              <a:gd name="connsiteX37" fmla="*/ 5077 w 10000"/>
              <a:gd name="connsiteY37" fmla="*/ 6864 h 10091"/>
              <a:gd name="connsiteX38" fmla="*/ 5077 w 10000"/>
              <a:gd name="connsiteY38" fmla="*/ 6864 h 10091"/>
              <a:gd name="connsiteX39" fmla="*/ 5113 w 10000"/>
              <a:gd name="connsiteY39" fmla="*/ 6781 h 10091"/>
              <a:gd name="connsiteX40" fmla="*/ 5144 w 10000"/>
              <a:gd name="connsiteY40" fmla="*/ 6693 h 10091"/>
              <a:gd name="connsiteX41" fmla="*/ 5176 w 10000"/>
              <a:gd name="connsiteY41" fmla="*/ 6605 h 10091"/>
              <a:gd name="connsiteX42" fmla="*/ 5203 w 10000"/>
              <a:gd name="connsiteY42" fmla="*/ 6517 h 10091"/>
              <a:gd name="connsiteX43" fmla="*/ 5225 w 10000"/>
              <a:gd name="connsiteY43" fmla="*/ 6424 h 10091"/>
              <a:gd name="connsiteX44" fmla="*/ 5243 w 10000"/>
              <a:gd name="connsiteY44" fmla="*/ 6336 h 10091"/>
              <a:gd name="connsiteX45" fmla="*/ 5252 w 10000"/>
              <a:gd name="connsiteY45" fmla="*/ 6244 h 10091"/>
              <a:gd name="connsiteX46" fmla="*/ 5261 w 10000"/>
              <a:gd name="connsiteY46" fmla="*/ 6146 h 10091"/>
              <a:gd name="connsiteX47" fmla="*/ 5261 w 10000"/>
              <a:gd name="connsiteY47" fmla="*/ 6146 h 10091"/>
              <a:gd name="connsiteX48" fmla="*/ 5266 w 10000"/>
              <a:gd name="connsiteY48" fmla="*/ 6040 h 10091"/>
              <a:gd name="connsiteX49" fmla="*/ 5257 w 10000"/>
              <a:gd name="connsiteY49" fmla="*/ 5933 h 10091"/>
              <a:gd name="connsiteX50" fmla="*/ 5243 w 10000"/>
              <a:gd name="connsiteY50" fmla="*/ 5831 h 10091"/>
              <a:gd name="connsiteX51" fmla="*/ 5221 w 10000"/>
              <a:gd name="connsiteY51" fmla="*/ 5730 h 10091"/>
              <a:gd name="connsiteX52" fmla="*/ 5189 w 10000"/>
              <a:gd name="connsiteY52" fmla="*/ 5632 h 10091"/>
              <a:gd name="connsiteX53" fmla="*/ 5149 w 10000"/>
              <a:gd name="connsiteY53" fmla="*/ 5535 h 10091"/>
              <a:gd name="connsiteX54" fmla="*/ 5099 w 10000"/>
              <a:gd name="connsiteY54" fmla="*/ 5442 h 10091"/>
              <a:gd name="connsiteX55" fmla="*/ 5045 w 10000"/>
              <a:gd name="connsiteY55" fmla="*/ 5350 h 10091"/>
              <a:gd name="connsiteX56" fmla="*/ 5045 w 10000"/>
              <a:gd name="connsiteY56" fmla="*/ 5350 h 10091"/>
              <a:gd name="connsiteX57" fmla="*/ 4986 w 10000"/>
              <a:gd name="connsiteY57" fmla="*/ 5266 h 10091"/>
              <a:gd name="connsiteX58" fmla="*/ 4923 w 10000"/>
              <a:gd name="connsiteY58" fmla="*/ 5183 h 10091"/>
              <a:gd name="connsiteX59" fmla="*/ 4856 w 10000"/>
              <a:gd name="connsiteY59" fmla="*/ 5109 h 10091"/>
              <a:gd name="connsiteX60" fmla="*/ 4784 w 10000"/>
              <a:gd name="connsiteY60" fmla="*/ 5035 h 10091"/>
              <a:gd name="connsiteX61" fmla="*/ 4707 w 10000"/>
              <a:gd name="connsiteY61" fmla="*/ 4965 h 10091"/>
              <a:gd name="connsiteX62" fmla="*/ 4631 w 10000"/>
              <a:gd name="connsiteY62" fmla="*/ 4900 h 10091"/>
              <a:gd name="connsiteX63" fmla="*/ 4550 w 10000"/>
              <a:gd name="connsiteY63" fmla="*/ 4836 h 10091"/>
              <a:gd name="connsiteX64" fmla="*/ 4469 w 10000"/>
              <a:gd name="connsiteY64" fmla="*/ 4775 h 10091"/>
              <a:gd name="connsiteX65" fmla="*/ 4469 w 10000"/>
              <a:gd name="connsiteY65" fmla="*/ 4775 h 10091"/>
              <a:gd name="connsiteX66" fmla="*/ 4347 w 10000"/>
              <a:gd name="connsiteY66" fmla="*/ 4687 h 10091"/>
              <a:gd name="connsiteX67" fmla="*/ 4226 w 10000"/>
              <a:gd name="connsiteY67" fmla="*/ 4609 h 10091"/>
              <a:gd name="connsiteX68" fmla="*/ 4104 w 10000"/>
              <a:gd name="connsiteY68" fmla="*/ 4530 h 10091"/>
              <a:gd name="connsiteX69" fmla="*/ 3978 w 10000"/>
              <a:gd name="connsiteY69" fmla="*/ 4456 h 10091"/>
              <a:gd name="connsiteX70" fmla="*/ 3852 w 10000"/>
              <a:gd name="connsiteY70" fmla="*/ 4386 h 10091"/>
              <a:gd name="connsiteX71" fmla="*/ 3722 w 10000"/>
              <a:gd name="connsiteY71" fmla="*/ 4317 h 10091"/>
              <a:gd name="connsiteX72" fmla="*/ 3591 w 10000"/>
              <a:gd name="connsiteY72" fmla="*/ 4252 h 10091"/>
              <a:gd name="connsiteX73" fmla="*/ 3461 w 10000"/>
              <a:gd name="connsiteY73" fmla="*/ 4187 h 10091"/>
              <a:gd name="connsiteX74" fmla="*/ 3461 w 10000"/>
              <a:gd name="connsiteY74" fmla="*/ 4187 h 10091"/>
              <a:gd name="connsiteX75" fmla="*/ 3029 w 10000"/>
              <a:gd name="connsiteY75" fmla="*/ 3993 h 10091"/>
              <a:gd name="connsiteX76" fmla="*/ 2601 w 10000"/>
              <a:gd name="connsiteY76" fmla="*/ 3798 h 10091"/>
              <a:gd name="connsiteX77" fmla="*/ 1742 w 10000"/>
              <a:gd name="connsiteY77" fmla="*/ 3414 h 10091"/>
              <a:gd name="connsiteX78" fmla="*/ 1742 w 10000"/>
              <a:gd name="connsiteY78" fmla="*/ 3414 h 10091"/>
              <a:gd name="connsiteX79" fmla="*/ 1598 w 10000"/>
              <a:gd name="connsiteY79" fmla="*/ 3349 h 10091"/>
              <a:gd name="connsiteX80" fmla="*/ 1454 w 10000"/>
              <a:gd name="connsiteY80" fmla="*/ 3279 h 10091"/>
              <a:gd name="connsiteX81" fmla="*/ 1314 w 10000"/>
              <a:gd name="connsiteY81" fmla="*/ 3205 h 10091"/>
              <a:gd name="connsiteX82" fmla="*/ 1179 w 10000"/>
              <a:gd name="connsiteY82" fmla="*/ 3126 h 10091"/>
              <a:gd name="connsiteX83" fmla="*/ 1049 w 10000"/>
              <a:gd name="connsiteY83" fmla="*/ 3038 h 10091"/>
              <a:gd name="connsiteX84" fmla="*/ 923 w 10000"/>
              <a:gd name="connsiteY84" fmla="*/ 2946 h 10091"/>
              <a:gd name="connsiteX85" fmla="*/ 797 w 10000"/>
              <a:gd name="connsiteY85" fmla="*/ 2849 h 10091"/>
              <a:gd name="connsiteX86" fmla="*/ 680 w 10000"/>
              <a:gd name="connsiteY86" fmla="*/ 2742 h 10091"/>
              <a:gd name="connsiteX87" fmla="*/ 680 w 10000"/>
              <a:gd name="connsiteY87" fmla="*/ 2742 h 10091"/>
              <a:gd name="connsiteX88" fmla="*/ 590 w 10000"/>
              <a:gd name="connsiteY88" fmla="*/ 2649 h 10091"/>
              <a:gd name="connsiteX89" fmla="*/ 504 w 10000"/>
              <a:gd name="connsiteY89" fmla="*/ 2557 h 10091"/>
              <a:gd name="connsiteX90" fmla="*/ 423 w 10000"/>
              <a:gd name="connsiteY90" fmla="*/ 2459 h 10091"/>
              <a:gd name="connsiteX91" fmla="*/ 356 w 10000"/>
              <a:gd name="connsiteY91" fmla="*/ 2362 h 10091"/>
              <a:gd name="connsiteX92" fmla="*/ 288 w 10000"/>
              <a:gd name="connsiteY92" fmla="*/ 2260 h 10091"/>
              <a:gd name="connsiteX93" fmla="*/ 230 w 10000"/>
              <a:gd name="connsiteY93" fmla="*/ 2154 h 10091"/>
              <a:gd name="connsiteX94" fmla="*/ 180 w 10000"/>
              <a:gd name="connsiteY94" fmla="*/ 2047 h 10091"/>
              <a:gd name="connsiteX95" fmla="*/ 131 w 10000"/>
              <a:gd name="connsiteY95" fmla="*/ 1941 h 10091"/>
              <a:gd name="connsiteX96" fmla="*/ 95 w 10000"/>
              <a:gd name="connsiteY96" fmla="*/ 1830 h 10091"/>
              <a:gd name="connsiteX97" fmla="*/ 63 w 10000"/>
              <a:gd name="connsiteY97" fmla="*/ 1714 h 10091"/>
              <a:gd name="connsiteX98" fmla="*/ 36 w 10000"/>
              <a:gd name="connsiteY98" fmla="*/ 1593 h 10091"/>
              <a:gd name="connsiteX99" fmla="*/ 18 w 10000"/>
              <a:gd name="connsiteY99" fmla="*/ 1473 h 10091"/>
              <a:gd name="connsiteX100" fmla="*/ 5 w 10000"/>
              <a:gd name="connsiteY100" fmla="*/ 1352 h 10091"/>
              <a:gd name="connsiteX101" fmla="*/ 0 w 10000"/>
              <a:gd name="connsiteY101" fmla="*/ 1227 h 10091"/>
              <a:gd name="connsiteX102" fmla="*/ 0 w 10000"/>
              <a:gd name="connsiteY102" fmla="*/ 1098 h 10091"/>
              <a:gd name="connsiteX103" fmla="*/ 9 w 10000"/>
              <a:gd name="connsiteY103" fmla="*/ 968 h 10091"/>
              <a:gd name="connsiteX104" fmla="*/ 9 w 10000"/>
              <a:gd name="connsiteY104" fmla="*/ 968 h 10091"/>
              <a:gd name="connsiteX105" fmla="*/ 23 w 10000"/>
              <a:gd name="connsiteY105" fmla="*/ 848 h 10091"/>
              <a:gd name="connsiteX106" fmla="*/ 41 w 10000"/>
              <a:gd name="connsiteY106" fmla="*/ 727 h 10091"/>
              <a:gd name="connsiteX107" fmla="*/ 68 w 10000"/>
              <a:gd name="connsiteY107" fmla="*/ 607 h 10091"/>
              <a:gd name="connsiteX108" fmla="*/ 95 w 10000"/>
              <a:gd name="connsiteY108" fmla="*/ 491 h 10091"/>
              <a:gd name="connsiteX109" fmla="*/ 131 w 10000"/>
              <a:gd name="connsiteY109" fmla="*/ 375 h 10091"/>
              <a:gd name="connsiteX110" fmla="*/ 171 w 10000"/>
              <a:gd name="connsiteY110" fmla="*/ 259 h 10091"/>
              <a:gd name="connsiteX111" fmla="*/ 212 w 10000"/>
              <a:gd name="connsiteY111" fmla="*/ 148 h 10091"/>
              <a:gd name="connsiteX112" fmla="*/ 266 w 10000"/>
              <a:gd name="connsiteY112" fmla="*/ 37 h 10091"/>
              <a:gd name="connsiteX113" fmla="*/ 266 w 10000"/>
              <a:gd name="connsiteY113" fmla="*/ 37 h 10091"/>
              <a:gd name="connsiteX114" fmla="*/ 275 w 10000"/>
              <a:gd name="connsiteY114" fmla="*/ 0 h 10091"/>
              <a:gd name="connsiteX115" fmla="*/ 275 w 10000"/>
              <a:gd name="connsiteY115" fmla="*/ 0 h 1009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7052 w 10000"/>
              <a:gd name="connsiteY23" fmla="*/ 8902 h 10000"/>
              <a:gd name="connsiteX24" fmla="*/ 6805 w 10000"/>
              <a:gd name="connsiteY24" fmla="*/ 8736 h 10000"/>
              <a:gd name="connsiteX25" fmla="*/ 6562 w 10000"/>
              <a:gd name="connsiteY25" fmla="*/ 8564 h 10000"/>
              <a:gd name="connsiteX26" fmla="*/ 6319 w 10000"/>
              <a:gd name="connsiteY26" fmla="*/ 8388 h 10000"/>
              <a:gd name="connsiteX27" fmla="*/ 6085 w 10000"/>
              <a:gd name="connsiteY27" fmla="*/ 8208 h 10000"/>
              <a:gd name="connsiteX28" fmla="*/ 5851 w 10000"/>
              <a:gd name="connsiteY28" fmla="*/ 8022 h 10000"/>
              <a:gd name="connsiteX29" fmla="*/ 5621 w 10000"/>
              <a:gd name="connsiteY29" fmla="*/ 7832 h 10000"/>
              <a:gd name="connsiteX30" fmla="*/ 5392 w 10000"/>
              <a:gd name="connsiteY30" fmla="*/ 7642 h 10000"/>
              <a:gd name="connsiteX31" fmla="*/ 5167 w 10000"/>
              <a:gd name="connsiteY31" fmla="*/ 7443 h 10000"/>
              <a:gd name="connsiteX32" fmla="*/ 5167 w 10000"/>
              <a:gd name="connsiteY32" fmla="*/ 7443 h 10000"/>
              <a:gd name="connsiteX33" fmla="*/ 4905 w 10000"/>
              <a:gd name="connsiteY33" fmla="*/ 7216 h 10000"/>
              <a:gd name="connsiteX34" fmla="*/ 4905 w 10000"/>
              <a:gd name="connsiteY34" fmla="*/ 7216 h 10000"/>
              <a:gd name="connsiteX35" fmla="*/ 4995 w 10000"/>
              <a:gd name="connsiteY35" fmla="*/ 7040 h 10000"/>
              <a:gd name="connsiteX36" fmla="*/ 5077 w 10000"/>
              <a:gd name="connsiteY36" fmla="*/ 6864 h 10000"/>
              <a:gd name="connsiteX37" fmla="*/ 5077 w 10000"/>
              <a:gd name="connsiteY37" fmla="*/ 6864 h 10000"/>
              <a:gd name="connsiteX38" fmla="*/ 5113 w 10000"/>
              <a:gd name="connsiteY38" fmla="*/ 6781 h 10000"/>
              <a:gd name="connsiteX39" fmla="*/ 5144 w 10000"/>
              <a:gd name="connsiteY39" fmla="*/ 6693 h 10000"/>
              <a:gd name="connsiteX40" fmla="*/ 5176 w 10000"/>
              <a:gd name="connsiteY40" fmla="*/ 6605 h 10000"/>
              <a:gd name="connsiteX41" fmla="*/ 5203 w 10000"/>
              <a:gd name="connsiteY41" fmla="*/ 6517 h 10000"/>
              <a:gd name="connsiteX42" fmla="*/ 5225 w 10000"/>
              <a:gd name="connsiteY42" fmla="*/ 6424 h 10000"/>
              <a:gd name="connsiteX43" fmla="*/ 5243 w 10000"/>
              <a:gd name="connsiteY43" fmla="*/ 6336 h 10000"/>
              <a:gd name="connsiteX44" fmla="*/ 5252 w 10000"/>
              <a:gd name="connsiteY44" fmla="*/ 6244 h 10000"/>
              <a:gd name="connsiteX45" fmla="*/ 5261 w 10000"/>
              <a:gd name="connsiteY45" fmla="*/ 6146 h 10000"/>
              <a:gd name="connsiteX46" fmla="*/ 5261 w 10000"/>
              <a:gd name="connsiteY46" fmla="*/ 6146 h 10000"/>
              <a:gd name="connsiteX47" fmla="*/ 5266 w 10000"/>
              <a:gd name="connsiteY47" fmla="*/ 6040 h 10000"/>
              <a:gd name="connsiteX48" fmla="*/ 5257 w 10000"/>
              <a:gd name="connsiteY48" fmla="*/ 5933 h 10000"/>
              <a:gd name="connsiteX49" fmla="*/ 5243 w 10000"/>
              <a:gd name="connsiteY49" fmla="*/ 5831 h 10000"/>
              <a:gd name="connsiteX50" fmla="*/ 5221 w 10000"/>
              <a:gd name="connsiteY50" fmla="*/ 5730 h 10000"/>
              <a:gd name="connsiteX51" fmla="*/ 5189 w 10000"/>
              <a:gd name="connsiteY51" fmla="*/ 5632 h 10000"/>
              <a:gd name="connsiteX52" fmla="*/ 5149 w 10000"/>
              <a:gd name="connsiteY52" fmla="*/ 5535 h 10000"/>
              <a:gd name="connsiteX53" fmla="*/ 5099 w 10000"/>
              <a:gd name="connsiteY53" fmla="*/ 5442 h 10000"/>
              <a:gd name="connsiteX54" fmla="*/ 5045 w 10000"/>
              <a:gd name="connsiteY54" fmla="*/ 5350 h 10000"/>
              <a:gd name="connsiteX55" fmla="*/ 5045 w 10000"/>
              <a:gd name="connsiteY55" fmla="*/ 5350 h 10000"/>
              <a:gd name="connsiteX56" fmla="*/ 4986 w 10000"/>
              <a:gd name="connsiteY56" fmla="*/ 5266 h 10000"/>
              <a:gd name="connsiteX57" fmla="*/ 4923 w 10000"/>
              <a:gd name="connsiteY57" fmla="*/ 5183 h 10000"/>
              <a:gd name="connsiteX58" fmla="*/ 4856 w 10000"/>
              <a:gd name="connsiteY58" fmla="*/ 5109 h 10000"/>
              <a:gd name="connsiteX59" fmla="*/ 4784 w 10000"/>
              <a:gd name="connsiteY59" fmla="*/ 5035 h 10000"/>
              <a:gd name="connsiteX60" fmla="*/ 4707 w 10000"/>
              <a:gd name="connsiteY60" fmla="*/ 4965 h 10000"/>
              <a:gd name="connsiteX61" fmla="*/ 4631 w 10000"/>
              <a:gd name="connsiteY61" fmla="*/ 4900 h 10000"/>
              <a:gd name="connsiteX62" fmla="*/ 4550 w 10000"/>
              <a:gd name="connsiteY62" fmla="*/ 4836 h 10000"/>
              <a:gd name="connsiteX63" fmla="*/ 4469 w 10000"/>
              <a:gd name="connsiteY63" fmla="*/ 4775 h 10000"/>
              <a:gd name="connsiteX64" fmla="*/ 4469 w 10000"/>
              <a:gd name="connsiteY64" fmla="*/ 4775 h 10000"/>
              <a:gd name="connsiteX65" fmla="*/ 4347 w 10000"/>
              <a:gd name="connsiteY65" fmla="*/ 4687 h 10000"/>
              <a:gd name="connsiteX66" fmla="*/ 4226 w 10000"/>
              <a:gd name="connsiteY66" fmla="*/ 4609 h 10000"/>
              <a:gd name="connsiteX67" fmla="*/ 4104 w 10000"/>
              <a:gd name="connsiteY67" fmla="*/ 4530 h 10000"/>
              <a:gd name="connsiteX68" fmla="*/ 3978 w 10000"/>
              <a:gd name="connsiteY68" fmla="*/ 4456 h 10000"/>
              <a:gd name="connsiteX69" fmla="*/ 3852 w 10000"/>
              <a:gd name="connsiteY69" fmla="*/ 4386 h 10000"/>
              <a:gd name="connsiteX70" fmla="*/ 3722 w 10000"/>
              <a:gd name="connsiteY70" fmla="*/ 4317 h 10000"/>
              <a:gd name="connsiteX71" fmla="*/ 3591 w 10000"/>
              <a:gd name="connsiteY71" fmla="*/ 4252 h 10000"/>
              <a:gd name="connsiteX72" fmla="*/ 3461 w 10000"/>
              <a:gd name="connsiteY72" fmla="*/ 4187 h 10000"/>
              <a:gd name="connsiteX73" fmla="*/ 3461 w 10000"/>
              <a:gd name="connsiteY73" fmla="*/ 4187 h 10000"/>
              <a:gd name="connsiteX74" fmla="*/ 3029 w 10000"/>
              <a:gd name="connsiteY74" fmla="*/ 3993 h 10000"/>
              <a:gd name="connsiteX75" fmla="*/ 2601 w 10000"/>
              <a:gd name="connsiteY75" fmla="*/ 3798 h 10000"/>
              <a:gd name="connsiteX76" fmla="*/ 1742 w 10000"/>
              <a:gd name="connsiteY76" fmla="*/ 3414 h 10000"/>
              <a:gd name="connsiteX77" fmla="*/ 1742 w 10000"/>
              <a:gd name="connsiteY77" fmla="*/ 3414 h 10000"/>
              <a:gd name="connsiteX78" fmla="*/ 1598 w 10000"/>
              <a:gd name="connsiteY78" fmla="*/ 3349 h 10000"/>
              <a:gd name="connsiteX79" fmla="*/ 1454 w 10000"/>
              <a:gd name="connsiteY79" fmla="*/ 3279 h 10000"/>
              <a:gd name="connsiteX80" fmla="*/ 1314 w 10000"/>
              <a:gd name="connsiteY80" fmla="*/ 3205 h 10000"/>
              <a:gd name="connsiteX81" fmla="*/ 1179 w 10000"/>
              <a:gd name="connsiteY81" fmla="*/ 3126 h 10000"/>
              <a:gd name="connsiteX82" fmla="*/ 1049 w 10000"/>
              <a:gd name="connsiteY82" fmla="*/ 3038 h 10000"/>
              <a:gd name="connsiteX83" fmla="*/ 923 w 10000"/>
              <a:gd name="connsiteY83" fmla="*/ 2946 h 10000"/>
              <a:gd name="connsiteX84" fmla="*/ 797 w 10000"/>
              <a:gd name="connsiteY84" fmla="*/ 2849 h 10000"/>
              <a:gd name="connsiteX85" fmla="*/ 680 w 10000"/>
              <a:gd name="connsiteY85" fmla="*/ 2742 h 10000"/>
              <a:gd name="connsiteX86" fmla="*/ 680 w 10000"/>
              <a:gd name="connsiteY86" fmla="*/ 2742 h 10000"/>
              <a:gd name="connsiteX87" fmla="*/ 590 w 10000"/>
              <a:gd name="connsiteY87" fmla="*/ 2649 h 10000"/>
              <a:gd name="connsiteX88" fmla="*/ 504 w 10000"/>
              <a:gd name="connsiteY88" fmla="*/ 2557 h 10000"/>
              <a:gd name="connsiteX89" fmla="*/ 423 w 10000"/>
              <a:gd name="connsiteY89" fmla="*/ 2459 h 10000"/>
              <a:gd name="connsiteX90" fmla="*/ 356 w 10000"/>
              <a:gd name="connsiteY90" fmla="*/ 2362 h 10000"/>
              <a:gd name="connsiteX91" fmla="*/ 288 w 10000"/>
              <a:gd name="connsiteY91" fmla="*/ 2260 h 10000"/>
              <a:gd name="connsiteX92" fmla="*/ 230 w 10000"/>
              <a:gd name="connsiteY92" fmla="*/ 2154 h 10000"/>
              <a:gd name="connsiteX93" fmla="*/ 180 w 10000"/>
              <a:gd name="connsiteY93" fmla="*/ 2047 h 10000"/>
              <a:gd name="connsiteX94" fmla="*/ 131 w 10000"/>
              <a:gd name="connsiteY94" fmla="*/ 1941 h 10000"/>
              <a:gd name="connsiteX95" fmla="*/ 95 w 10000"/>
              <a:gd name="connsiteY95" fmla="*/ 1830 h 10000"/>
              <a:gd name="connsiteX96" fmla="*/ 63 w 10000"/>
              <a:gd name="connsiteY96" fmla="*/ 1714 h 10000"/>
              <a:gd name="connsiteX97" fmla="*/ 36 w 10000"/>
              <a:gd name="connsiteY97" fmla="*/ 1593 h 10000"/>
              <a:gd name="connsiteX98" fmla="*/ 18 w 10000"/>
              <a:gd name="connsiteY98" fmla="*/ 1473 h 10000"/>
              <a:gd name="connsiteX99" fmla="*/ 5 w 10000"/>
              <a:gd name="connsiteY99" fmla="*/ 1352 h 10000"/>
              <a:gd name="connsiteX100" fmla="*/ 0 w 10000"/>
              <a:gd name="connsiteY100" fmla="*/ 1227 h 10000"/>
              <a:gd name="connsiteX101" fmla="*/ 0 w 10000"/>
              <a:gd name="connsiteY101" fmla="*/ 1098 h 10000"/>
              <a:gd name="connsiteX102" fmla="*/ 9 w 10000"/>
              <a:gd name="connsiteY102" fmla="*/ 968 h 10000"/>
              <a:gd name="connsiteX103" fmla="*/ 9 w 10000"/>
              <a:gd name="connsiteY103" fmla="*/ 968 h 10000"/>
              <a:gd name="connsiteX104" fmla="*/ 23 w 10000"/>
              <a:gd name="connsiteY104" fmla="*/ 848 h 10000"/>
              <a:gd name="connsiteX105" fmla="*/ 41 w 10000"/>
              <a:gd name="connsiteY105" fmla="*/ 727 h 10000"/>
              <a:gd name="connsiteX106" fmla="*/ 68 w 10000"/>
              <a:gd name="connsiteY106" fmla="*/ 607 h 10000"/>
              <a:gd name="connsiteX107" fmla="*/ 95 w 10000"/>
              <a:gd name="connsiteY107" fmla="*/ 491 h 10000"/>
              <a:gd name="connsiteX108" fmla="*/ 131 w 10000"/>
              <a:gd name="connsiteY108" fmla="*/ 375 h 10000"/>
              <a:gd name="connsiteX109" fmla="*/ 171 w 10000"/>
              <a:gd name="connsiteY109" fmla="*/ 259 h 10000"/>
              <a:gd name="connsiteX110" fmla="*/ 212 w 10000"/>
              <a:gd name="connsiteY110" fmla="*/ 148 h 10000"/>
              <a:gd name="connsiteX111" fmla="*/ 266 w 10000"/>
              <a:gd name="connsiteY111" fmla="*/ 37 h 10000"/>
              <a:gd name="connsiteX112" fmla="*/ 266 w 10000"/>
              <a:gd name="connsiteY112" fmla="*/ 37 h 10000"/>
              <a:gd name="connsiteX113" fmla="*/ 275 w 10000"/>
              <a:gd name="connsiteY113" fmla="*/ 0 h 10000"/>
              <a:gd name="connsiteX114" fmla="*/ 275 w 10000"/>
              <a:gd name="connsiteY114" fmla="*/ 0 h 10000"/>
              <a:gd name="connsiteX0" fmla="*/ 275 w 10000"/>
              <a:gd name="connsiteY0" fmla="*/ 0 h 10109"/>
              <a:gd name="connsiteX1" fmla="*/ 275 w 10000"/>
              <a:gd name="connsiteY1" fmla="*/ 0 h 10109"/>
              <a:gd name="connsiteX2" fmla="*/ 10000 w 10000"/>
              <a:gd name="connsiteY2" fmla="*/ 0 h 10109"/>
              <a:gd name="connsiteX3" fmla="*/ 10000 w 10000"/>
              <a:gd name="connsiteY3" fmla="*/ 0 h 10109"/>
              <a:gd name="connsiteX4" fmla="*/ 10000 w 10000"/>
              <a:gd name="connsiteY4" fmla="*/ 74 h 10109"/>
              <a:gd name="connsiteX5" fmla="*/ 10000 w 10000"/>
              <a:gd name="connsiteY5" fmla="*/ 74 h 10109"/>
              <a:gd name="connsiteX6" fmla="*/ 10000 w 10000"/>
              <a:gd name="connsiteY6" fmla="*/ 9893 h 10109"/>
              <a:gd name="connsiteX7" fmla="*/ 10000 w 10000"/>
              <a:gd name="connsiteY7" fmla="*/ 9893 h 10109"/>
              <a:gd name="connsiteX8" fmla="*/ 10000 w 10000"/>
              <a:gd name="connsiteY8" fmla="*/ 9940 h 10109"/>
              <a:gd name="connsiteX9" fmla="*/ 10000 w 10000"/>
              <a:gd name="connsiteY9" fmla="*/ 9940 h 10109"/>
              <a:gd name="connsiteX10" fmla="*/ 10000 w 10000"/>
              <a:gd name="connsiteY10" fmla="*/ 9958 h 10109"/>
              <a:gd name="connsiteX11" fmla="*/ 9991 w 10000"/>
              <a:gd name="connsiteY11" fmla="*/ 9972 h 10109"/>
              <a:gd name="connsiteX12" fmla="*/ 9982 w 10000"/>
              <a:gd name="connsiteY12" fmla="*/ 9981 h 10109"/>
              <a:gd name="connsiteX13" fmla="*/ 9959 w 10000"/>
              <a:gd name="connsiteY13" fmla="*/ 9991 h 10109"/>
              <a:gd name="connsiteX14" fmla="*/ 9959 w 10000"/>
              <a:gd name="connsiteY14" fmla="*/ 9991 h 10109"/>
              <a:gd name="connsiteX15" fmla="*/ 9905 w 10000"/>
              <a:gd name="connsiteY15" fmla="*/ 9995 h 10109"/>
              <a:gd name="connsiteX16" fmla="*/ 9847 w 10000"/>
              <a:gd name="connsiteY16" fmla="*/ 10000 h 10109"/>
              <a:gd name="connsiteX17" fmla="*/ 9734 w 10000"/>
              <a:gd name="connsiteY17" fmla="*/ 10000 h 10109"/>
              <a:gd name="connsiteX18" fmla="*/ 9626 w 10000"/>
              <a:gd name="connsiteY18" fmla="*/ 9995 h 10109"/>
              <a:gd name="connsiteX19" fmla="*/ 9514 w 10000"/>
              <a:gd name="connsiteY19" fmla="*/ 9981 h 10109"/>
              <a:gd name="connsiteX20" fmla="*/ 9514 w 10000"/>
              <a:gd name="connsiteY20" fmla="*/ 9981 h 10109"/>
              <a:gd name="connsiteX21" fmla="*/ 9397 w 10000"/>
              <a:gd name="connsiteY21" fmla="*/ 9963 h 10109"/>
              <a:gd name="connsiteX22" fmla="*/ 9284 w 10000"/>
              <a:gd name="connsiteY22" fmla="*/ 9944 h 10109"/>
              <a:gd name="connsiteX23" fmla="*/ 9267 w 10000"/>
              <a:gd name="connsiteY23" fmla="*/ 9935 h 10109"/>
              <a:gd name="connsiteX24" fmla="*/ 7052 w 10000"/>
              <a:gd name="connsiteY24" fmla="*/ 8902 h 10109"/>
              <a:gd name="connsiteX25" fmla="*/ 6805 w 10000"/>
              <a:gd name="connsiteY25" fmla="*/ 8736 h 10109"/>
              <a:gd name="connsiteX26" fmla="*/ 6562 w 10000"/>
              <a:gd name="connsiteY26" fmla="*/ 8564 h 10109"/>
              <a:gd name="connsiteX27" fmla="*/ 6319 w 10000"/>
              <a:gd name="connsiteY27" fmla="*/ 8388 h 10109"/>
              <a:gd name="connsiteX28" fmla="*/ 6085 w 10000"/>
              <a:gd name="connsiteY28" fmla="*/ 8208 h 10109"/>
              <a:gd name="connsiteX29" fmla="*/ 5851 w 10000"/>
              <a:gd name="connsiteY29" fmla="*/ 8022 h 10109"/>
              <a:gd name="connsiteX30" fmla="*/ 5621 w 10000"/>
              <a:gd name="connsiteY30" fmla="*/ 7832 h 10109"/>
              <a:gd name="connsiteX31" fmla="*/ 5392 w 10000"/>
              <a:gd name="connsiteY31" fmla="*/ 7642 h 10109"/>
              <a:gd name="connsiteX32" fmla="*/ 5167 w 10000"/>
              <a:gd name="connsiteY32" fmla="*/ 7443 h 10109"/>
              <a:gd name="connsiteX33" fmla="*/ 5167 w 10000"/>
              <a:gd name="connsiteY33" fmla="*/ 7443 h 10109"/>
              <a:gd name="connsiteX34" fmla="*/ 4905 w 10000"/>
              <a:gd name="connsiteY34" fmla="*/ 7216 h 10109"/>
              <a:gd name="connsiteX35" fmla="*/ 4905 w 10000"/>
              <a:gd name="connsiteY35" fmla="*/ 7216 h 10109"/>
              <a:gd name="connsiteX36" fmla="*/ 4995 w 10000"/>
              <a:gd name="connsiteY36" fmla="*/ 7040 h 10109"/>
              <a:gd name="connsiteX37" fmla="*/ 5077 w 10000"/>
              <a:gd name="connsiteY37" fmla="*/ 6864 h 10109"/>
              <a:gd name="connsiteX38" fmla="*/ 5077 w 10000"/>
              <a:gd name="connsiteY38" fmla="*/ 6864 h 10109"/>
              <a:gd name="connsiteX39" fmla="*/ 5113 w 10000"/>
              <a:gd name="connsiteY39" fmla="*/ 6781 h 10109"/>
              <a:gd name="connsiteX40" fmla="*/ 5144 w 10000"/>
              <a:gd name="connsiteY40" fmla="*/ 6693 h 10109"/>
              <a:gd name="connsiteX41" fmla="*/ 5176 w 10000"/>
              <a:gd name="connsiteY41" fmla="*/ 6605 h 10109"/>
              <a:gd name="connsiteX42" fmla="*/ 5203 w 10000"/>
              <a:gd name="connsiteY42" fmla="*/ 6517 h 10109"/>
              <a:gd name="connsiteX43" fmla="*/ 5225 w 10000"/>
              <a:gd name="connsiteY43" fmla="*/ 6424 h 10109"/>
              <a:gd name="connsiteX44" fmla="*/ 5243 w 10000"/>
              <a:gd name="connsiteY44" fmla="*/ 6336 h 10109"/>
              <a:gd name="connsiteX45" fmla="*/ 5252 w 10000"/>
              <a:gd name="connsiteY45" fmla="*/ 6244 h 10109"/>
              <a:gd name="connsiteX46" fmla="*/ 5261 w 10000"/>
              <a:gd name="connsiteY46" fmla="*/ 6146 h 10109"/>
              <a:gd name="connsiteX47" fmla="*/ 5261 w 10000"/>
              <a:gd name="connsiteY47" fmla="*/ 6146 h 10109"/>
              <a:gd name="connsiteX48" fmla="*/ 5266 w 10000"/>
              <a:gd name="connsiteY48" fmla="*/ 6040 h 10109"/>
              <a:gd name="connsiteX49" fmla="*/ 5257 w 10000"/>
              <a:gd name="connsiteY49" fmla="*/ 5933 h 10109"/>
              <a:gd name="connsiteX50" fmla="*/ 5243 w 10000"/>
              <a:gd name="connsiteY50" fmla="*/ 5831 h 10109"/>
              <a:gd name="connsiteX51" fmla="*/ 5221 w 10000"/>
              <a:gd name="connsiteY51" fmla="*/ 5730 h 10109"/>
              <a:gd name="connsiteX52" fmla="*/ 5189 w 10000"/>
              <a:gd name="connsiteY52" fmla="*/ 5632 h 10109"/>
              <a:gd name="connsiteX53" fmla="*/ 5149 w 10000"/>
              <a:gd name="connsiteY53" fmla="*/ 5535 h 10109"/>
              <a:gd name="connsiteX54" fmla="*/ 5099 w 10000"/>
              <a:gd name="connsiteY54" fmla="*/ 5442 h 10109"/>
              <a:gd name="connsiteX55" fmla="*/ 5045 w 10000"/>
              <a:gd name="connsiteY55" fmla="*/ 5350 h 10109"/>
              <a:gd name="connsiteX56" fmla="*/ 5045 w 10000"/>
              <a:gd name="connsiteY56" fmla="*/ 5350 h 10109"/>
              <a:gd name="connsiteX57" fmla="*/ 4986 w 10000"/>
              <a:gd name="connsiteY57" fmla="*/ 5266 h 10109"/>
              <a:gd name="connsiteX58" fmla="*/ 4923 w 10000"/>
              <a:gd name="connsiteY58" fmla="*/ 5183 h 10109"/>
              <a:gd name="connsiteX59" fmla="*/ 4856 w 10000"/>
              <a:gd name="connsiteY59" fmla="*/ 5109 h 10109"/>
              <a:gd name="connsiteX60" fmla="*/ 4784 w 10000"/>
              <a:gd name="connsiteY60" fmla="*/ 5035 h 10109"/>
              <a:gd name="connsiteX61" fmla="*/ 4707 w 10000"/>
              <a:gd name="connsiteY61" fmla="*/ 4965 h 10109"/>
              <a:gd name="connsiteX62" fmla="*/ 4631 w 10000"/>
              <a:gd name="connsiteY62" fmla="*/ 4900 h 10109"/>
              <a:gd name="connsiteX63" fmla="*/ 4550 w 10000"/>
              <a:gd name="connsiteY63" fmla="*/ 4836 h 10109"/>
              <a:gd name="connsiteX64" fmla="*/ 4469 w 10000"/>
              <a:gd name="connsiteY64" fmla="*/ 4775 h 10109"/>
              <a:gd name="connsiteX65" fmla="*/ 4469 w 10000"/>
              <a:gd name="connsiteY65" fmla="*/ 4775 h 10109"/>
              <a:gd name="connsiteX66" fmla="*/ 4347 w 10000"/>
              <a:gd name="connsiteY66" fmla="*/ 4687 h 10109"/>
              <a:gd name="connsiteX67" fmla="*/ 4226 w 10000"/>
              <a:gd name="connsiteY67" fmla="*/ 4609 h 10109"/>
              <a:gd name="connsiteX68" fmla="*/ 4104 w 10000"/>
              <a:gd name="connsiteY68" fmla="*/ 4530 h 10109"/>
              <a:gd name="connsiteX69" fmla="*/ 3978 w 10000"/>
              <a:gd name="connsiteY69" fmla="*/ 4456 h 10109"/>
              <a:gd name="connsiteX70" fmla="*/ 3852 w 10000"/>
              <a:gd name="connsiteY70" fmla="*/ 4386 h 10109"/>
              <a:gd name="connsiteX71" fmla="*/ 3722 w 10000"/>
              <a:gd name="connsiteY71" fmla="*/ 4317 h 10109"/>
              <a:gd name="connsiteX72" fmla="*/ 3591 w 10000"/>
              <a:gd name="connsiteY72" fmla="*/ 4252 h 10109"/>
              <a:gd name="connsiteX73" fmla="*/ 3461 w 10000"/>
              <a:gd name="connsiteY73" fmla="*/ 4187 h 10109"/>
              <a:gd name="connsiteX74" fmla="*/ 3461 w 10000"/>
              <a:gd name="connsiteY74" fmla="*/ 4187 h 10109"/>
              <a:gd name="connsiteX75" fmla="*/ 3029 w 10000"/>
              <a:gd name="connsiteY75" fmla="*/ 3993 h 10109"/>
              <a:gd name="connsiteX76" fmla="*/ 2601 w 10000"/>
              <a:gd name="connsiteY76" fmla="*/ 3798 h 10109"/>
              <a:gd name="connsiteX77" fmla="*/ 1742 w 10000"/>
              <a:gd name="connsiteY77" fmla="*/ 3414 h 10109"/>
              <a:gd name="connsiteX78" fmla="*/ 1742 w 10000"/>
              <a:gd name="connsiteY78" fmla="*/ 3414 h 10109"/>
              <a:gd name="connsiteX79" fmla="*/ 1598 w 10000"/>
              <a:gd name="connsiteY79" fmla="*/ 3349 h 10109"/>
              <a:gd name="connsiteX80" fmla="*/ 1454 w 10000"/>
              <a:gd name="connsiteY80" fmla="*/ 3279 h 10109"/>
              <a:gd name="connsiteX81" fmla="*/ 1314 w 10000"/>
              <a:gd name="connsiteY81" fmla="*/ 3205 h 10109"/>
              <a:gd name="connsiteX82" fmla="*/ 1179 w 10000"/>
              <a:gd name="connsiteY82" fmla="*/ 3126 h 10109"/>
              <a:gd name="connsiteX83" fmla="*/ 1049 w 10000"/>
              <a:gd name="connsiteY83" fmla="*/ 3038 h 10109"/>
              <a:gd name="connsiteX84" fmla="*/ 923 w 10000"/>
              <a:gd name="connsiteY84" fmla="*/ 2946 h 10109"/>
              <a:gd name="connsiteX85" fmla="*/ 797 w 10000"/>
              <a:gd name="connsiteY85" fmla="*/ 2849 h 10109"/>
              <a:gd name="connsiteX86" fmla="*/ 680 w 10000"/>
              <a:gd name="connsiteY86" fmla="*/ 2742 h 10109"/>
              <a:gd name="connsiteX87" fmla="*/ 680 w 10000"/>
              <a:gd name="connsiteY87" fmla="*/ 2742 h 10109"/>
              <a:gd name="connsiteX88" fmla="*/ 590 w 10000"/>
              <a:gd name="connsiteY88" fmla="*/ 2649 h 10109"/>
              <a:gd name="connsiteX89" fmla="*/ 504 w 10000"/>
              <a:gd name="connsiteY89" fmla="*/ 2557 h 10109"/>
              <a:gd name="connsiteX90" fmla="*/ 423 w 10000"/>
              <a:gd name="connsiteY90" fmla="*/ 2459 h 10109"/>
              <a:gd name="connsiteX91" fmla="*/ 356 w 10000"/>
              <a:gd name="connsiteY91" fmla="*/ 2362 h 10109"/>
              <a:gd name="connsiteX92" fmla="*/ 288 w 10000"/>
              <a:gd name="connsiteY92" fmla="*/ 2260 h 10109"/>
              <a:gd name="connsiteX93" fmla="*/ 230 w 10000"/>
              <a:gd name="connsiteY93" fmla="*/ 2154 h 10109"/>
              <a:gd name="connsiteX94" fmla="*/ 180 w 10000"/>
              <a:gd name="connsiteY94" fmla="*/ 2047 h 10109"/>
              <a:gd name="connsiteX95" fmla="*/ 131 w 10000"/>
              <a:gd name="connsiteY95" fmla="*/ 1941 h 10109"/>
              <a:gd name="connsiteX96" fmla="*/ 95 w 10000"/>
              <a:gd name="connsiteY96" fmla="*/ 1830 h 10109"/>
              <a:gd name="connsiteX97" fmla="*/ 63 w 10000"/>
              <a:gd name="connsiteY97" fmla="*/ 1714 h 10109"/>
              <a:gd name="connsiteX98" fmla="*/ 36 w 10000"/>
              <a:gd name="connsiteY98" fmla="*/ 1593 h 10109"/>
              <a:gd name="connsiteX99" fmla="*/ 18 w 10000"/>
              <a:gd name="connsiteY99" fmla="*/ 1473 h 10109"/>
              <a:gd name="connsiteX100" fmla="*/ 5 w 10000"/>
              <a:gd name="connsiteY100" fmla="*/ 1352 h 10109"/>
              <a:gd name="connsiteX101" fmla="*/ 0 w 10000"/>
              <a:gd name="connsiteY101" fmla="*/ 1227 h 10109"/>
              <a:gd name="connsiteX102" fmla="*/ 0 w 10000"/>
              <a:gd name="connsiteY102" fmla="*/ 1098 h 10109"/>
              <a:gd name="connsiteX103" fmla="*/ 9 w 10000"/>
              <a:gd name="connsiteY103" fmla="*/ 968 h 10109"/>
              <a:gd name="connsiteX104" fmla="*/ 9 w 10000"/>
              <a:gd name="connsiteY104" fmla="*/ 968 h 10109"/>
              <a:gd name="connsiteX105" fmla="*/ 23 w 10000"/>
              <a:gd name="connsiteY105" fmla="*/ 848 h 10109"/>
              <a:gd name="connsiteX106" fmla="*/ 41 w 10000"/>
              <a:gd name="connsiteY106" fmla="*/ 727 h 10109"/>
              <a:gd name="connsiteX107" fmla="*/ 68 w 10000"/>
              <a:gd name="connsiteY107" fmla="*/ 607 h 10109"/>
              <a:gd name="connsiteX108" fmla="*/ 95 w 10000"/>
              <a:gd name="connsiteY108" fmla="*/ 491 h 10109"/>
              <a:gd name="connsiteX109" fmla="*/ 131 w 10000"/>
              <a:gd name="connsiteY109" fmla="*/ 375 h 10109"/>
              <a:gd name="connsiteX110" fmla="*/ 171 w 10000"/>
              <a:gd name="connsiteY110" fmla="*/ 259 h 10109"/>
              <a:gd name="connsiteX111" fmla="*/ 212 w 10000"/>
              <a:gd name="connsiteY111" fmla="*/ 148 h 10109"/>
              <a:gd name="connsiteX112" fmla="*/ 266 w 10000"/>
              <a:gd name="connsiteY112" fmla="*/ 37 h 10109"/>
              <a:gd name="connsiteX113" fmla="*/ 266 w 10000"/>
              <a:gd name="connsiteY113" fmla="*/ 37 h 10109"/>
              <a:gd name="connsiteX114" fmla="*/ 275 w 10000"/>
              <a:gd name="connsiteY114" fmla="*/ 0 h 10109"/>
              <a:gd name="connsiteX115" fmla="*/ 275 w 10000"/>
              <a:gd name="connsiteY115" fmla="*/ 0 h 10109"/>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626 w 10000"/>
              <a:gd name="connsiteY18" fmla="*/ 9995 h 10121"/>
              <a:gd name="connsiteX19" fmla="*/ 9514 w 10000"/>
              <a:gd name="connsiteY19" fmla="*/ 9981 h 10121"/>
              <a:gd name="connsiteX20" fmla="*/ 9514 w 10000"/>
              <a:gd name="connsiteY20" fmla="*/ 9981 h 10121"/>
              <a:gd name="connsiteX21" fmla="*/ 9397 w 10000"/>
              <a:gd name="connsiteY21" fmla="*/ 9963 h 10121"/>
              <a:gd name="connsiteX22" fmla="*/ 9284 w 10000"/>
              <a:gd name="connsiteY22" fmla="*/ 9944 h 10121"/>
              <a:gd name="connsiteX23" fmla="*/ 7052 w 10000"/>
              <a:gd name="connsiteY23" fmla="*/ 8902 h 10121"/>
              <a:gd name="connsiteX24" fmla="*/ 6805 w 10000"/>
              <a:gd name="connsiteY24" fmla="*/ 8736 h 10121"/>
              <a:gd name="connsiteX25" fmla="*/ 6562 w 10000"/>
              <a:gd name="connsiteY25" fmla="*/ 8564 h 10121"/>
              <a:gd name="connsiteX26" fmla="*/ 6319 w 10000"/>
              <a:gd name="connsiteY26" fmla="*/ 8388 h 10121"/>
              <a:gd name="connsiteX27" fmla="*/ 6085 w 10000"/>
              <a:gd name="connsiteY27" fmla="*/ 8208 h 10121"/>
              <a:gd name="connsiteX28" fmla="*/ 5851 w 10000"/>
              <a:gd name="connsiteY28" fmla="*/ 8022 h 10121"/>
              <a:gd name="connsiteX29" fmla="*/ 5621 w 10000"/>
              <a:gd name="connsiteY29" fmla="*/ 7832 h 10121"/>
              <a:gd name="connsiteX30" fmla="*/ 5392 w 10000"/>
              <a:gd name="connsiteY30" fmla="*/ 7642 h 10121"/>
              <a:gd name="connsiteX31" fmla="*/ 5167 w 10000"/>
              <a:gd name="connsiteY31" fmla="*/ 7443 h 10121"/>
              <a:gd name="connsiteX32" fmla="*/ 5167 w 10000"/>
              <a:gd name="connsiteY32" fmla="*/ 7443 h 10121"/>
              <a:gd name="connsiteX33" fmla="*/ 4905 w 10000"/>
              <a:gd name="connsiteY33" fmla="*/ 7216 h 10121"/>
              <a:gd name="connsiteX34" fmla="*/ 4905 w 10000"/>
              <a:gd name="connsiteY34" fmla="*/ 7216 h 10121"/>
              <a:gd name="connsiteX35" fmla="*/ 4995 w 10000"/>
              <a:gd name="connsiteY35" fmla="*/ 7040 h 10121"/>
              <a:gd name="connsiteX36" fmla="*/ 5077 w 10000"/>
              <a:gd name="connsiteY36" fmla="*/ 6864 h 10121"/>
              <a:gd name="connsiteX37" fmla="*/ 5077 w 10000"/>
              <a:gd name="connsiteY37" fmla="*/ 6864 h 10121"/>
              <a:gd name="connsiteX38" fmla="*/ 5113 w 10000"/>
              <a:gd name="connsiteY38" fmla="*/ 6781 h 10121"/>
              <a:gd name="connsiteX39" fmla="*/ 5144 w 10000"/>
              <a:gd name="connsiteY39" fmla="*/ 6693 h 10121"/>
              <a:gd name="connsiteX40" fmla="*/ 5176 w 10000"/>
              <a:gd name="connsiteY40" fmla="*/ 6605 h 10121"/>
              <a:gd name="connsiteX41" fmla="*/ 5203 w 10000"/>
              <a:gd name="connsiteY41" fmla="*/ 6517 h 10121"/>
              <a:gd name="connsiteX42" fmla="*/ 5225 w 10000"/>
              <a:gd name="connsiteY42" fmla="*/ 6424 h 10121"/>
              <a:gd name="connsiteX43" fmla="*/ 5243 w 10000"/>
              <a:gd name="connsiteY43" fmla="*/ 6336 h 10121"/>
              <a:gd name="connsiteX44" fmla="*/ 5252 w 10000"/>
              <a:gd name="connsiteY44" fmla="*/ 6244 h 10121"/>
              <a:gd name="connsiteX45" fmla="*/ 5261 w 10000"/>
              <a:gd name="connsiteY45" fmla="*/ 6146 h 10121"/>
              <a:gd name="connsiteX46" fmla="*/ 5261 w 10000"/>
              <a:gd name="connsiteY46" fmla="*/ 6146 h 10121"/>
              <a:gd name="connsiteX47" fmla="*/ 5266 w 10000"/>
              <a:gd name="connsiteY47" fmla="*/ 6040 h 10121"/>
              <a:gd name="connsiteX48" fmla="*/ 5257 w 10000"/>
              <a:gd name="connsiteY48" fmla="*/ 5933 h 10121"/>
              <a:gd name="connsiteX49" fmla="*/ 5243 w 10000"/>
              <a:gd name="connsiteY49" fmla="*/ 5831 h 10121"/>
              <a:gd name="connsiteX50" fmla="*/ 5221 w 10000"/>
              <a:gd name="connsiteY50" fmla="*/ 5730 h 10121"/>
              <a:gd name="connsiteX51" fmla="*/ 5189 w 10000"/>
              <a:gd name="connsiteY51" fmla="*/ 5632 h 10121"/>
              <a:gd name="connsiteX52" fmla="*/ 5149 w 10000"/>
              <a:gd name="connsiteY52" fmla="*/ 5535 h 10121"/>
              <a:gd name="connsiteX53" fmla="*/ 5099 w 10000"/>
              <a:gd name="connsiteY53" fmla="*/ 5442 h 10121"/>
              <a:gd name="connsiteX54" fmla="*/ 5045 w 10000"/>
              <a:gd name="connsiteY54" fmla="*/ 5350 h 10121"/>
              <a:gd name="connsiteX55" fmla="*/ 5045 w 10000"/>
              <a:gd name="connsiteY55" fmla="*/ 5350 h 10121"/>
              <a:gd name="connsiteX56" fmla="*/ 4986 w 10000"/>
              <a:gd name="connsiteY56" fmla="*/ 5266 h 10121"/>
              <a:gd name="connsiteX57" fmla="*/ 4923 w 10000"/>
              <a:gd name="connsiteY57" fmla="*/ 5183 h 10121"/>
              <a:gd name="connsiteX58" fmla="*/ 4856 w 10000"/>
              <a:gd name="connsiteY58" fmla="*/ 5109 h 10121"/>
              <a:gd name="connsiteX59" fmla="*/ 4784 w 10000"/>
              <a:gd name="connsiteY59" fmla="*/ 5035 h 10121"/>
              <a:gd name="connsiteX60" fmla="*/ 4707 w 10000"/>
              <a:gd name="connsiteY60" fmla="*/ 4965 h 10121"/>
              <a:gd name="connsiteX61" fmla="*/ 4631 w 10000"/>
              <a:gd name="connsiteY61" fmla="*/ 4900 h 10121"/>
              <a:gd name="connsiteX62" fmla="*/ 4550 w 10000"/>
              <a:gd name="connsiteY62" fmla="*/ 4836 h 10121"/>
              <a:gd name="connsiteX63" fmla="*/ 4469 w 10000"/>
              <a:gd name="connsiteY63" fmla="*/ 4775 h 10121"/>
              <a:gd name="connsiteX64" fmla="*/ 4469 w 10000"/>
              <a:gd name="connsiteY64" fmla="*/ 4775 h 10121"/>
              <a:gd name="connsiteX65" fmla="*/ 4347 w 10000"/>
              <a:gd name="connsiteY65" fmla="*/ 4687 h 10121"/>
              <a:gd name="connsiteX66" fmla="*/ 4226 w 10000"/>
              <a:gd name="connsiteY66" fmla="*/ 4609 h 10121"/>
              <a:gd name="connsiteX67" fmla="*/ 4104 w 10000"/>
              <a:gd name="connsiteY67" fmla="*/ 4530 h 10121"/>
              <a:gd name="connsiteX68" fmla="*/ 3978 w 10000"/>
              <a:gd name="connsiteY68" fmla="*/ 4456 h 10121"/>
              <a:gd name="connsiteX69" fmla="*/ 3852 w 10000"/>
              <a:gd name="connsiteY69" fmla="*/ 4386 h 10121"/>
              <a:gd name="connsiteX70" fmla="*/ 3722 w 10000"/>
              <a:gd name="connsiteY70" fmla="*/ 4317 h 10121"/>
              <a:gd name="connsiteX71" fmla="*/ 3591 w 10000"/>
              <a:gd name="connsiteY71" fmla="*/ 4252 h 10121"/>
              <a:gd name="connsiteX72" fmla="*/ 3461 w 10000"/>
              <a:gd name="connsiteY72" fmla="*/ 4187 h 10121"/>
              <a:gd name="connsiteX73" fmla="*/ 3461 w 10000"/>
              <a:gd name="connsiteY73" fmla="*/ 4187 h 10121"/>
              <a:gd name="connsiteX74" fmla="*/ 3029 w 10000"/>
              <a:gd name="connsiteY74" fmla="*/ 3993 h 10121"/>
              <a:gd name="connsiteX75" fmla="*/ 2601 w 10000"/>
              <a:gd name="connsiteY75" fmla="*/ 3798 h 10121"/>
              <a:gd name="connsiteX76" fmla="*/ 1742 w 10000"/>
              <a:gd name="connsiteY76" fmla="*/ 3414 h 10121"/>
              <a:gd name="connsiteX77" fmla="*/ 1742 w 10000"/>
              <a:gd name="connsiteY77" fmla="*/ 3414 h 10121"/>
              <a:gd name="connsiteX78" fmla="*/ 1598 w 10000"/>
              <a:gd name="connsiteY78" fmla="*/ 3349 h 10121"/>
              <a:gd name="connsiteX79" fmla="*/ 1454 w 10000"/>
              <a:gd name="connsiteY79" fmla="*/ 3279 h 10121"/>
              <a:gd name="connsiteX80" fmla="*/ 1314 w 10000"/>
              <a:gd name="connsiteY80" fmla="*/ 3205 h 10121"/>
              <a:gd name="connsiteX81" fmla="*/ 1179 w 10000"/>
              <a:gd name="connsiteY81" fmla="*/ 3126 h 10121"/>
              <a:gd name="connsiteX82" fmla="*/ 1049 w 10000"/>
              <a:gd name="connsiteY82" fmla="*/ 3038 h 10121"/>
              <a:gd name="connsiteX83" fmla="*/ 923 w 10000"/>
              <a:gd name="connsiteY83" fmla="*/ 2946 h 10121"/>
              <a:gd name="connsiteX84" fmla="*/ 797 w 10000"/>
              <a:gd name="connsiteY84" fmla="*/ 2849 h 10121"/>
              <a:gd name="connsiteX85" fmla="*/ 680 w 10000"/>
              <a:gd name="connsiteY85" fmla="*/ 2742 h 10121"/>
              <a:gd name="connsiteX86" fmla="*/ 680 w 10000"/>
              <a:gd name="connsiteY86" fmla="*/ 2742 h 10121"/>
              <a:gd name="connsiteX87" fmla="*/ 590 w 10000"/>
              <a:gd name="connsiteY87" fmla="*/ 2649 h 10121"/>
              <a:gd name="connsiteX88" fmla="*/ 504 w 10000"/>
              <a:gd name="connsiteY88" fmla="*/ 2557 h 10121"/>
              <a:gd name="connsiteX89" fmla="*/ 423 w 10000"/>
              <a:gd name="connsiteY89" fmla="*/ 2459 h 10121"/>
              <a:gd name="connsiteX90" fmla="*/ 356 w 10000"/>
              <a:gd name="connsiteY90" fmla="*/ 2362 h 10121"/>
              <a:gd name="connsiteX91" fmla="*/ 288 w 10000"/>
              <a:gd name="connsiteY91" fmla="*/ 2260 h 10121"/>
              <a:gd name="connsiteX92" fmla="*/ 230 w 10000"/>
              <a:gd name="connsiteY92" fmla="*/ 2154 h 10121"/>
              <a:gd name="connsiteX93" fmla="*/ 180 w 10000"/>
              <a:gd name="connsiteY93" fmla="*/ 2047 h 10121"/>
              <a:gd name="connsiteX94" fmla="*/ 131 w 10000"/>
              <a:gd name="connsiteY94" fmla="*/ 1941 h 10121"/>
              <a:gd name="connsiteX95" fmla="*/ 95 w 10000"/>
              <a:gd name="connsiteY95" fmla="*/ 1830 h 10121"/>
              <a:gd name="connsiteX96" fmla="*/ 63 w 10000"/>
              <a:gd name="connsiteY96" fmla="*/ 1714 h 10121"/>
              <a:gd name="connsiteX97" fmla="*/ 36 w 10000"/>
              <a:gd name="connsiteY97" fmla="*/ 1593 h 10121"/>
              <a:gd name="connsiteX98" fmla="*/ 18 w 10000"/>
              <a:gd name="connsiteY98" fmla="*/ 1473 h 10121"/>
              <a:gd name="connsiteX99" fmla="*/ 5 w 10000"/>
              <a:gd name="connsiteY99" fmla="*/ 1352 h 10121"/>
              <a:gd name="connsiteX100" fmla="*/ 0 w 10000"/>
              <a:gd name="connsiteY100" fmla="*/ 1227 h 10121"/>
              <a:gd name="connsiteX101" fmla="*/ 0 w 10000"/>
              <a:gd name="connsiteY101" fmla="*/ 1098 h 10121"/>
              <a:gd name="connsiteX102" fmla="*/ 9 w 10000"/>
              <a:gd name="connsiteY102" fmla="*/ 968 h 10121"/>
              <a:gd name="connsiteX103" fmla="*/ 9 w 10000"/>
              <a:gd name="connsiteY103" fmla="*/ 968 h 10121"/>
              <a:gd name="connsiteX104" fmla="*/ 23 w 10000"/>
              <a:gd name="connsiteY104" fmla="*/ 848 h 10121"/>
              <a:gd name="connsiteX105" fmla="*/ 41 w 10000"/>
              <a:gd name="connsiteY105" fmla="*/ 727 h 10121"/>
              <a:gd name="connsiteX106" fmla="*/ 68 w 10000"/>
              <a:gd name="connsiteY106" fmla="*/ 607 h 10121"/>
              <a:gd name="connsiteX107" fmla="*/ 95 w 10000"/>
              <a:gd name="connsiteY107" fmla="*/ 491 h 10121"/>
              <a:gd name="connsiteX108" fmla="*/ 131 w 10000"/>
              <a:gd name="connsiteY108" fmla="*/ 375 h 10121"/>
              <a:gd name="connsiteX109" fmla="*/ 171 w 10000"/>
              <a:gd name="connsiteY109" fmla="*/ 259 h 10121"/>
              <a:gd name="connsiteX110" fmla="*/ 212 w 10000"/>
              <a:gd name="connsiteY110" fmla="*/ 148 h 10121"/>
              <a:gd name="connsiteX111" fmla="*/ 266 w 10000"/>
              <a:gd name="connsiteY111" fmla="*/ 37 h 10121"/>
              <a:gd name="connsiteX112" fmla="*/ 266 w 10000"/>
              <a:gd name="connsiteY112" fmla="*/ 37 h 10121"/>
              <a:gd name="connsiteX113" fmla="*/ 275 w 10000"/>
              <a:gd name="connsiteY113" fmla="*/ 0 h 10121"/>
              <a:gd name="connsiteX114" fmla="*/ 275 w 10000"/>
              <a:gd name="connsiteY114"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514 w 10000"/>
              <a:gd name="connsiteY19" fmla="*/ 9981 h 10121"/>
              <a:gd name="connsiteX20" fmla="*/ 9397 w 10000"/>
              <a:gd name="connsiteY20" fmla="*/ 9963 h 10121"/>
              <a:gd name="connsiteX21" fmla="*/ 9284 w 10000"/>
              <a:gd name="connsiteY21" fmla="*/ 9944 h 10121"/>
              <a:gd name="connsiteX22" fmla="*/ 7052 w 10000"/>
              <a:gd name="connsiteY22" fmla="*/ 8902 h 10121"/>
              <a:gd name="connsiteX23" fmla="*/ 6805 w 10000"/>
              <a:gd name="connsiteY23" fmla="*/ 8736 h 10121"/>
              <a:gd name="connsiteX24" fmla="*/ 6562 w 10000"/>
              <a:gd name="connsiteY24" fmla="*/ 8564 h 10121"/>
              <a:gd name="connsiteX25" fmla="*/ 6319 w 10000"/>
              <a:gd name="connsiteY25" fmla="*/ 8388 h 10121"/>
              <a:gd name="connsiteX26" fmla="*/ 6085 w 10000"/>
              <a:gd name="connsiteY26" fmla="*/ 8208 h 10121"/>
              <a:gd name="connsiteX27" fmla="*/ 5851 w 10000"/>
              <a:gd name="connsiteY27" fmla="*/ 8022 h 10121"/>
              <a:gd name="connsiteX28" fmla="*/ 5621 w 10000"/>
              <a:gd name="connsiteY28" fmla="*/ 7832 h 10121"/>
              <a:gd name="connsiteX29" fmla="*/ 5392 w 10000"/>
              <a:gd name="connsiteY29" fmla="*/ 7642 h 10121"/>
              <a:gd name="connsiteX30" fmla="*/ 5167 w 10000"/>
              <a:gd name="connsiteY30" fmla="*/ 7443 h 10121"/>
              <a:gd name="connsiteX31" fmla="*/ 5167 w 10000"/>
              <a:gd name="connsiteY31" fmla="*/ 7443 h 10121"/>
              <a:gd name="connsiteX32" fmla="*/ 4905 w 10000"/>
              <a:gd name="connsiteY32" fmla="*/ 7216 h 10121"/>
              <a:gd name="connsiteX33" fmla="*/ 4905 w 10000"/>
              <a:gd name="connsiteY33" fmla="*/ 7216 h 10121"/>
              <a:gd name="connsiteX34" fmla="*/ 4995 w 10000"/>
              <a:gd name="connsiteY34" fmla="*/ 7040 h 10121"/>
              <a:gd name="connsiteX35" fmla="*/ 5077 w 10000"/>
              <a:gd name="connsiteY35" fmla="*/ 6864 h 10121"/>
              <a:gd name="connsiteX36" fmla="*/ 5077 w 10000"/>
              <a:gd name="connsiteY36" fmla="*/ 6864 h 10121"/>
              <a:gd name="connsiteX37" fmla="*/ 5113 w 10000"/>
              <a:gd name="connsiteY37" fmla="*/ 6781 h 10121"/>
              <a:gd name="connsiteX38" fmla="*/ 5144 w 10000"/>
              <a:gd name="connsiteY38" fmla="*/ 6693 h 10121"/>
              <a:gd name="connsiteX39" fmla="*/ 5176 w 10000"/>
              <a:gd name="connsiteY39" fmla="*/ 6605 h 10121"/>
              <a:gd name="connsiteX40" fmla="*/ 5203 w 10000"/>
              <a:gd name="connsiteY40" fmla="*/ 6517 h 10121"/>
              <a:gd name="connsiteX41" fmla="*/ 5225 w 10000"/>
              <a:gd name="connsiteY41" fmla="*/ 6424 h 10121"/>
              <a:gd name="connsiteX42" fmla="*/ 5243 w 10000"/>
              <a:gd name="connsiteY42" fmla="*/ 6336 h 10121"/>
              <a:gd name="connsiteX43" fmla="*/ 5252 w 10000"/>
              <a:gd name="connsiteY43" fmla="*/ 6244 h 10121"/>
              <a:gd name="connsiteX44" fmla="*/ 5261 w 10000"/>
              <a:gd name="connsiteY44" fmla="*/ 6146 h 10121"/>
              <a:gd name="connsiteX45" fmla="*/ 5261 w 10000"/>
              <a:gd name="connsiteY45" fmla="*/ 6146 h 10121"/>
              <a:gd name="connsiteX46" fmla="*/ 5266 w 10000"/>
              <a:gd name="connsiteY46" fmla="*/ 6040 h 10121"/>
              <a:gd name="connsiteX47" fmla="*/ 5257 w 10000"/>
              <a:gd name="connsiteY47" fmla="*/ 5933 h 10121"/>
              <a:gd name="connsiteX48" fmla="*/ 5243 w 10000"/>
              <a:gd name="connsiteY48" fmla="*/ 5831 h 10121"/>
              <a:gd name="connsiteX49" fmla="*/ 5221 w 10000"/>
              <a:gd name="connsiteY49" fmla="*/ 5730 h 10121"/>
              <a:gd name="connsiteX50" fmla="*/ 5189 w 10000"/>
              <a:gd name="connsiteY50" fmla="*/ 5632 h 10121"/>
              <a:gd name="connsiteX51" fmla="*/ 5149 w 10000"/>
              <a:gd name="connsiteY51" fmla="*/ 5535 h 10121"/>
              <a:gd name="connsiteX52" fmla="*/ 5099 w 10000"/>
              <a:gd name="connsiteY52" fmla="*/ 5442 h 10121"/>
              <a:gd name="connsiteX53" fmla="*/ 5045 w 10000"/>
              <a:gd name="connsiteY53" fmla="*/ 5350 h 10121"/>
              <a:gd name="connsiteX54" fmla="*/ 5045 w 10000"/>
              <a:gd name="connsiteY54" fmla="*/ 5350 h 10121"/>
              <a:gd name="connsiteX55" fmla="*/ 4986 w 10000"/>
              <a:gd name="connsiteY55" fmla="*/ 5266 h 10121"/>
              <a:gd name="connsiteX56" fmla="*/ 4923 w 10000"/>
              <a:gd name="connsiteY56" fmla="*/ 5183 h 10121"/>
              <a:gd name="connsiteX57" fmla="*/ 4856 w 10000"/>
              <a:gd name="connsiteY57" fmla="*/ 5109 h 10121"/>
              <a:gd name="connsiteX58" fmla="*/ 4784 w 10000"/>
              <a:gd name="connsiteY58" fmla="*/ 5035 h 10121"/>
              <a:gd name="connsiteX59" fmla="*/ 4707 w 10000"/>
              <a:gd name="connsiteY59" fmla="*/ 4965 h 10121"/>
              <a:gd name="connsiteX60" fmla="*/ 4631 w 10000"/>
              <a:gd name="connsiteY60" fmla="*/ 4900 h 10121"/>
              <a:gd name="connsiteX61" fmla="*/ 4550 w 10000"/>
              <a:gd name="connsiteY61" fmla="*/ 4836 h 10121"/>
              <a:gd name="connsiteX62" fmla="*/ 4469 w 10000"/>
              <a:gd name="connsiteY62" fmla="*/ 4775 h 10121"/>
              <a:gd name="connsiteX63" fmla="*/ 4469 w 10000"/>
              <a:gd name="connsiteY63" fmla="*/ 4775 h 10121"/>
              <a:gd name="connsiteX64" fmla="*/ 4347 w 10000"/>
              <a:gd name="connsiteY64" fmla="*/ 4687 h 10121"/>
              <a:gd name="connsiteX65" fmla="*/ 4226 w 10000"/>
              <a:gd name="connsiteY65" fmla="*/ 4609 h 10121"/>
              <a:gd name="connsiteX66" fmla="*/ 4104 w 10000"/>
              <a:gd name="connsiteY66" fmla="*/ 4530 h 10121"/>
              <a:gd name="connsiteX67" fmla="*/ 3978 w 10000"/>
              <a:gd name="connsiteY67" fmla="*/ 4456 h 10121"/>
              <a:gd name="connsiteX68" fmla="*/ 3852 w 10000"/>
              <a:gd name="connsiteY68" fmla="*/ 4386 h 10121"/>
              <a:gd name="connsiteX69" fmla="*/ 3722 w 10000"/>
              <a:gd name="connsiteY69" fmla="*/ 4317 h 10121"/>
              <a:gd name="connsiteX70" fmla="*/ 3591 w 10000"/>
              <a:gd name="connsiteY70" fmla="*/ 4252 h 10121"/>
              <a:gd name="connsiteX71" fmla="*/ 3461 w 10000"/>
              <a:gd name="connsiteY71" fmla="*/ 4187 h 10121"/>
              <a:gd name="connsiteX72" fmla="*/ 3461 w 10000"/>
              <a:gd name="connsiteY72" fmla="*/ 4187 h 10121"/>
              <a:gd name="connsiteX73" fmla="*/ 3029 w 10000"/>
              <a:gd name="connsiteY73" fmla="*/ 3993 h 10121"/>
              <a:gd name="connsiteX74" fmla="*/ 2601 w 10000"/>
              <a:gd name="connsiteY74" fmla="*/ 3798 h 10121"/>
              <a:gd name="connsiteX75" fmla="*/ 1742 w 10000"/>
              <a:gd name="connsiteY75" fmla="*/ 3414 h 10121"/>
              <a:gd name="connsiteX76" fmla="*/ 1742 w 10000"/>
              <a:gd name="connsiteY76" fmla="*/ 3414 h 10121"/>
              <a:gd name="connsiteX77" fmla="*/ 1598 w 10000"/>
              <a:gd name="connsiteY77" fmla="*/ 3349 h 10121"/>
              <a:gd name="connsiteX78" fmla="*/ 1454 w 10000"/>
              <a:gd name="connsiteY78" fmla="*/ 3279 h 10121"/>
              <a:gd name="connsiteX79" fmla="*/ 1314 w 10000"/>
              <a:gd name="connsiteY79" fmla="*/ 3205 h 10121"/>
              <a:gd name="connsiteX80" fmla="*/ 1179 w 10000"/>
              <a:gd name="connsiteY80" fmla="*/ 3126 h 10121"/>
              <a:gd name="connsiteX81" fmla="*/ 1049 w 10000"/>
              <a:gd name="connsiteY81" fmla="*/ 3038 h 10121"/>
              <a:gd name="connsiteX82" fmla="*/ 923 w 10000"/>
              <a:gd name="connsiteY82" fmla="*/ 2946 h 10121"/>
              <a:gd name="connsiteX83" fmla="*/ 797 w 10000"/>
              <a:gd name="connsiteY83" fmla="*/ 2849 h 10121"/>
              <a:gd name="connsiteX84" fmla="*/ 680 w 10000"/>
              <a:gd name="connsiteY84" fmla="*/ 2742 h 10121"/>
              <a:gd name="connsiteX85" fmla="*/ 680 w 10000"/>
              <a:gd name="connsiteY85" fmla="*/ 2742 h 10121"/>
              <a:gd name="connsiteX86" fmla="*/ 590 w 10000"/>
              <a:gd name="connsiteY86" fmla="*/ 2649 h 10121"/>
              <a:gd name="connsiteX87" fmla="*/ 504 w 10000"/>
              <a:gd name="connsiteY87" fmla="*/ 2557 h 10121"/>
              <a:gd name="connsiteX88" fmla="*/ 423 w 10000"/>
              <a:gd name="connsiteY88" fmla="*/ 2459 h 10121"/>
              <a:gd name="connsiteX89" fmla="*/ 356 w 10000"/>
              <a:gd name="connsiteY89" fmla="*/ 2362 h 10121"/>
              <a:gd name="connsiteX90" fmla="*/ 288 w 10000"/>
              <a:gd name="connsiteY90" fmla="*/ 2260 h 10121"/>
              <a:gd name="connsiteX91" fmla="*/ 230 w 10000"/>
              <a:gd name="connsiteY91" fmla="*/ 2154 h 10121"/>
              <a:gd name="connsiteX92" fmla="*/ 180 w 10000"/>
              <a:gd name="connsiteY92" fmla="*/ 2047 h 10121"/>
              <a:gd name="connsiteX93" fmla="*/ 131 w 10000"/>
              <a:gd name="connsiteY93" fmla="*/ 1941 h 10121"/>
              <a:gd name="connsiteX94" fmla="*/ 95 w 10000"/>
              <a:gd name="connsiteY94" fmla="*/ 1830 h 10121"/>
              <a:gd name="connsiteX95" fmla="*/ 63 w 10000"/>
              <a:gd name="connsiteY95" fmla="*/ 1714 h 10121"/>
              <a:gd name="connsiteX96" fmla="*/ 36 w 10000"/>
              <a:gd name="connsiteY96" fmla="*/ 1593 h 10121"/>
              <a:gd name="connsiteX97" fmla="*/ 18 w 10000"/>
              <a:gd name="connsiteY97" fmla="*/ 1473 h 10121"/>
              <a:gd name="connsiteX98" fmla="*/ 5 w 10000"/>
              <a:gd name="connsiteY98" fmla="*/ 1352 h 10121"/>
              <a:gd name="connsiteX99" fmla="*/ 0 w 10000"/>
              <a:gd name="connsiteY99" fmla="*/ 1227 h 10121"/>
              <a:gd name="connsiteX100" fmla="*/ 0 w 10000"/>
              <a:gd name="connsiteY100" fmla="*/ 1098 h 10121"/>
              <a:gd name="connsiteX101" fmla="*/ 9 w 10000"/>
              <a:gd name="connsiteY101" fmla="*/ 968 h 10121"/>
              <a:gd name="connsiteX102" fmla="*/ 9 w 10000"/>
              <a:gd name="connsiteY102" fmla="*/ 968 h 10121"/>
              <a:gd name="connsiteX103" fmla="*/ 23 w 10000"/>
              <a:gd name="connsiteY103" fmla="*/ 848 h 10121"/>
              <a:gd name="connsiteX104" fmla="*/ 41 w 10000"/>
              <a:gd name="connsiteY104" fmla="*/ 727 h 10121"/>
              <a:gd name="connsiteX105" fmla="*/ 68 w 10000"/>
              <a:gd name="connsiteY105" fmla="*/ 607 h 10121"/>
              <a:gd name="connsiteX106" fmla="*/ 95 w 10000"/>
              <a:gd name="connsiteY106" fmla="*/ 491 h 10121"/>
              <a:gd name="connsiteX107" fmla="*/ 131 w 10000"/>
              <a:gd name="connsiteY107" fmla="*/ 375 h 10121"/>
              <a:gd name="connsiteX108" fmla="*/ 171 w 10000"/>
              <a:gd name="connsiteY108" fmla="*/ 259 h 10121"/>
              <a:gd name="connsiteX109" fmla="*/ 212 w 10000"/>
              <a:gd name="connsiteY109" fmla="*/ 148 h 10121"/>
              <a:gd name="connsiteX110" fmla="*/ 266 w 10000"/>
              <a:gd name="connsiteY110" fmla="*/ 37 h 10121"/>
              <a:gd name="connsiteX111" fmla="*/ 266 w 10000"/>
              <a:gd name="connsiteY111" fmla="*/ 37 h 10121"/>
              <a:gd name="connsiteX112" fmla="*/ 275 w 10000"/>
              <a:gd name="connsiteY112" fmla="*/ 0 h 10121"/>
              <a:gd name="connsiteX113" fmla="*/ 275 w 10000"/>
              <a:gd name="connsiteY113"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397 w 10000"/>
              <a:gd name="connsiteY19" fmla="*/ 9963 h 10121"/>
              <a:gd name="connsiteX20" fmla="*/ 9284 w 10000"/>
              <a:gd name="connsiteY20" fmla="*/ 9944 h 10121"/>
              <a:gd name="connsiteX21" fmla="*/ 7052 w 10000"/>
              <a:gd name="connsiteY21" fmla="*/ 8902 h 10121"/>
              <a:gd name="connsiteX22" fmla="*/ 6805 w 10000"/>
              <a:gd name="connsiteY22" fmla="*/ 8736 h 10121"/>
              <a:gd name="connsiteX23" fmla="*/ 6562 w 10000"/>
              <a:gd name="connsiteY23" fmla="*/ 8564 h 10121"/>
              <a:gd name="connsiteX24" fmla="*/ 6319 w 10000"/>
              <a:gd name="connsiteY24" fmla="*/ 8388 h 10121"/>
              <a:gd name="connsiteX25" fmla="*/ 6085 w 10000"/>
              <a:gd name="connsiteY25" fmla="*/ 8208 h 10121"/>
              <a:gd name="connsiteX26" fmla="*/ 5851 w 10000"/>
              <a:gd name="connsiteY26" fmla="*/ 8022 h 10121"/>
              <a:gd name="connsiteX27" fmla="*/ 5621 w 10000"/>
              <a:gd name="connsiteY27" fmla="*/ 7832 h 10121"/>
              <a:gd name="connsiteX28" fmla="*/ 5392 w 10000"/>
              <a:gd name="connsiteY28" fmla="*/ 7642 h 10121"/>
              <a:gd name="connsiteX29" fmla="*/ 5167 w 10000"/>
              <a:gd name="connsiteY29" fmla="*/ 7443 h 10121"/>
              <a:gd name="connsiteX30" fmla="*/ 5167 w 10000"/>
              <a:gd name="connsiteY30" fmla="*/ 7443 h 10121"/>
              <a:gd name="connsiteX31" fmla="*/ 4905 w 10000"/>
              <a:gd name="connsiteY31" fmla="*/ 7216 h 10121"/>
              <a:gd name="connsiteX32" fmla="*/ 4905 w 10000"/>
              <a:gd name="connsiteY32" fmla="*/ 7216 h 10121"/>
              <a:gd name="connsiteX33" fmla="*/ 4995 w 10000"/>
              <a:gd name="connsiteY33" fmla="*/ 7040 h 10121"/>
              <a:gd name="connsiteX34" fmla="*/ 5077 w 10000"/>
              <a:gd name="connsiteY34" fmla="*/ 6864 h 10121"/>
              <a:gd name="connsiteX35" fmla="*/ 5077 w 10000"/>
              <a:gd name="connsiteY35" fmla="*/ 6864 h 10121"/>
              <a:gd name="connsiteX36" fmla="*/ 5113 w 10000"/>
              <a:gd name="connsiteY36" fmla="*/ 6781 h 10121"/>
              <a:gd name="connsiteX37" fmla="*/ 5144 w 10000"/>
              <a:gd name="connsiteY37" fmla="*/ 6693 h 10121"/>
              <a:gd name="connsiteX38" fmla="*/ 5176 w 10000"/>
              <a:gd name="connsiteY38" fmla="*/ 6605 h 10121"/>
              <a:gd name="connsiteX39" fmla="*/ 5203 w 10000"/>
              <a:gd name="connsiteY39" fmla="*/ 6517 h 10121"/>
              <a:gd name="connsiteX40" fmla="*/ 5225 w 10000"/>
              <a:gd name="connsiteY40" fmla="*/ 6424 h 10121"/>
              <a:gd name="connsiteX41" fmla="*/ 5243 w 10000"/>
              <a:gd name="connsiteY41" fmla="*/ 6336 h 10121"/>
              <a:gd name="connsiteX42" fmla="*/ 5252 w 10000"/>
              <a:gd name="connsiteY42" fmla="*/ 6244 h 10121"/>
              <a:gd name="connsiteX43" fmla="*/ 5261 w 10000"/>
              <a:gd name="connsiteY43" fmla="*/ 6146 h 10121"/>
              <a:gd name="connsiteX44" fmla="*/ 5261 w 10000"/>
              <a:gd name="connsiteY44" fmla="*/ 6146 h 10121"/>
              <a:gd name="connsiteX45" fmla="*/ 5266 w 10000"/>
              <a:gd name="connsiteY45" fmla="*/ 6040 h 10121"/>
              <a:gd name="connsiteX46" fmla="*/ 5257 w 10000"/>
              <a:gd name="connsiteY46" fmla="*/ 5933 h 10121"/>
              <a:gd name="connsiteX47" fmla="*/ 5243 w 10000"/>
              <a:gd name="connsiteY47" fmla="*/ 5831 h 10121"/>
              <a:gd name="connsiteX48" fmla="*/ 5221 w 10000"/>
              <a:gd name="connsiteY48" fmla="*/ 5730 h 10121"/>
              <a:gd name="connsiteX49" fmla="*/ 5189 w 10000"/>
              <a:gd name="connsiteY49" fmla="*/ 5632 h 10121"/>
              <a:gd name="connsiteX50" fmla="*/ 5149 w 10000"/>
              <a:gd name="connsiteY50" fmla="*/ 5535 h 10121"/>
              <a:gd name="connsiteX51" fmla="*/ 5099 w 10000"/>
              <a:gd name="connsiteY51" fmla="*/ 5442 h 10121"/>
              <a:gd name="connsiteX52" fmla="*/ 5045 w 10000"/>
              <a:gd name="connsiteY52" fmla="*/ 5350 h 10121"/>
              <a:gd name="connsiteX53" fmla="*/ 5045 w 10000"/>
              <a:gd name="connsiteY53" fmla="*/ 5350 h 10121"/>
              <a:gd name="connsiteX54" fmla="*/ 4986 w 10000"/>
              <a:gd name="connsiteY54" fmla="*/ 5266 h 10121"/>
              <a:gd name="connsiteX55" fmla="*/ 4923 w 10000"/>
              <a:gd name="connsiteY55" fmla="*/ 5183 h 10121"/>
              <a:gd name="connsiteX56" fmla="*/ 4856 w 10000"/>
              <a:gd name="connsiteY56" fmla="*/ 5109 h 10121"/>
              <a:gd name="connsiteX57" fmla="*/ 4784 w 10000"/>
              <a:gd name="connsiteY57" fmla="*/ 5035 h 10121"/>
              <a:gd name="connsiteX58" fmla="*/ 4707 w 10000"/>
              <a:gd name="connsiteY58" fmla="*/ 4965 h 10121"/>
              <a:gd name="connsiteX59" fmla="*/ 4631 w 10000"/>
              <a:gd name="connsiteY59" fmla="*/ 4900 h 10121"/>
              <a:gd name="connsiteX60" fmla="*/ 4550 w 10000"/>
              <a:gd name="connsiteY60" fmla="*/ 4836 h 10121"/>
              <a:gd name="connsiteX61" fmla="*/ 4469 w 10000"/>
              <a:gd name="connsiteY61" fmla="*/ 4775 h 10121"/>
              <a:gd name="connsiteX62" fmla="*/ 4469 w 10000"/>
              <a:gd name="connsiteY62" fmla="*/ 4775 h 10121"/>
              <a:gd name="connsiteX63" fmla="*/ 4347 w 10000"/>
              <a:gd name="connsiteY63" fmla="*/ 4687 h 10121"/>
              <a:gd name="connsiteX64" fmla="*/ 4226 w 10000"/>
              <a:gd name="connsiteY64" fmla="*/ 4609 h 10121"/>
              <a:gd name="connsiteX65" fmla="*/ 4104 w 10000"/>
              <a:gd name="connsiteY65" fmla="*/ 4530 h 10121"/>
              <a:gd name="connsiteX66" fmla="*/ 3978 w 10000"/>
              <a:gd name="connsiteY66" fmla="*/ 4456 h 10121"/>
              <a:gd name="connsiteX67" fmla="*/ 3852 w 10000"/>
              <a:gd name="connsiteY67" fmla="*/ 4386 h 10121"/>
              <a:gd name="connsiteX68" fmla="*/ 3722 w 10000"/>
              <a:gd name="connsiteY68" fmla="*/ 4317 h 10121"/>
              <a:gd name="connsiteX69" fmla="*/ 3591 w 10000"/>
              <a:gd name="connsiteY69" fmla="*/ 4252 h 10121"/>
              <a:gd name="connsiteX70" fmla="*/ 3461 w 10000"/>
              <a:gd name="connsiteY70" fmla="*/ 4187 h 10121"/>
              <a:gd name="connsiteX71" fmla="*/ 3461 w 10000"/>
              <a:gd name="connsiteY71" fmla="*/ 4187 h 10121"/>
              <a:gd name="connsiteX72" fmla="*/ 3029 w 10000"/>
              <a:gd name="connsiteY72" fmla="*/ 3993 h 10121"/>
              <a:gd name="connsiteX73" fmla="*/ 2601 w 10000"/>
              <a:gd name="connsiteY73" fmla="*/ 3798 h 10121"/>
              <a:gd name="connsiteX74" fmla="*/ 1742 w 10000"/>
              <a:gd name="connsiteY74" fmla="*/ 3414 h 10121"/>
              <a:gd name="connsiteX75" fmla="*/ 1742 w 10000"/>
              <a:gd name="connsiteY75" fmla="*/ 3414 h 10121"/>
              <a:gd name="connsiteX76" fmla="*/ 1598 w 10000"/>
              <a:gd name="connsiteY76" fmla="*/ 3349 h 10121"/>
              <a:gd name="connsiteX77" fmla="*/ 1454 w 10000"/>
              <a:gd name="connsiteY77" fmla="*/ 3279 h 10121"/>
              <a:gd name="connsiteX78" fmla="*/ 1314 w 10000"/>
              <a:gd name="connsiteY78" fmla="*/ 3205 h 10121"/>
              <a:gd name="connsiteX79" fmla="*/ 1179 w 10000"/>
              <a:gd name="connsiteY79" fmla="*/ 3126 h 10121"/>
              <a:gd name="connsiteX80" fmla="*/ 1049 w 10000"/>
              <a:gd name="connsiteY80" fmla="*/ 3038 h 10121"/>
              <a:gd name="connsiteX81" fmla="*/ 923 w 10000"/>
              <a:gd name="connsiteY81" fmla="*/ 2946 h 10121"/>
              <a:gd name="connsiteX82" fmla="*/ 797 w 10000"/>
              <a:gd name="connsiteY82" fmla="*/ 2849 h 10121"/>
              <a:gd name="connsiteX83" fmla="*/ 680 w 10000"/>
              <a:gd name="connsiteY83" fmla="*/ 2742 h 10121"/>
              <a:gd name="connsiteX84" fmla="*/ 680 w 10000"/>
              <a:gd name="connsiteY84" fmla="*/ 2742 h 10121"/>
              <a:gd name="connsiteX85" fmla="*/ 590 w 10000"/>
              <a:gd name="connsiteY85" fmla="*/ 2649 h 10121"/>
              <a:gd name="connsiteX86" fmla="*/ 504 w 10000"/>
              <a:gd name="connsiteY86" fmla="*/ 2557 h 10121"/>
              <a:gd name="connsiteX87" fmla="*/ 423 w 10000"/>
              <a:gd name="connsiteY87" fmla="*/ 2459 h 10121"/>
              <a:gd name="connsiteX88" fmla="*/ 356 w 10000"/>
              <a:gd name="connsiteY88" fmla="*/ 2362 h 10121"/>
              <a:gd name="connsiteX89" fmla="*/ 288 w 10000"/>
              <a:gd name="connsiteY89" fmla="*/ 2260 h 10121"/>
              <a:gd name="connsiteX90" fmla="*/ 230 w 10000"/>
              <a:gd name="connsiteY90" fmla="*/ 2154 h 10121"/>
              <a:gd name="connsiteX91" fmla="*/ 180 w 10000"/>
              <a:gd name="connsiteY91" fmla="*/ 2047 h 10121"/>
              <a:gd name="connsiteX92" fmla="*/ 131 w 10000"/>
              <a:gd name="connsiteY92" fmla="*/ 1941 h 10121"/>
              <a:gd name="connsiteX93" fmla="*/ 95 w 10000"/>
              <a:gd name="connsiteY93" fmla="*/ 1830 h 10121"/>
              <a:gd name="connsiteX94" fmla="*/ 63 w 10000"/>
              <a:gd name="connsiteY94" fmla="*/ 1714 h 10121"/>
              <a:gd name="connsiteX95" fmla="*/ 36 w 10000"/>
              <a:gd name="connsiteY95" fmla="*/ 1593 h 10121"/>
              <a:gd name="connsiteX96" fmla="*/ 18 w 10000"/>
              <a:gd name="connsiteY96" fmla="*/ 1473 h 10121"/>
              <a:gd name="connsiteX97" fmla="*/ 5 w 10000"/>
              <a:gd name="connsiteY97" fmla="*/ 1352 h 10121"/>
              <a:gd name="connsiteX98" fmla="*/ 0 w 10000"/>
              <a:gd name="connsiteY98" fmla="*/ 1227 h 10121"/>
              <a:gd name="connsiteX99" fmla="*/ 0 w 10000"/>
              <a:gd name="connsiteY99" fmla="*/ 1098 h 10121"/>
              <a:gd name="connsiteX100" fmla="*/ 9 w 10000"/>
              <a:gd name="connsiteY100" fmla="*/ 968 h 10121"/>
              <a:gd name="connsiteX101" fmla="*/ 9 w 10000"/>
              <a:gd name="connsiteY101" fmla="*/ 968 h 10121"/>
              <a:gd name="connsiteX102" fmla="*/ 23 w 10000"/>
              <a:gd name="connsiteY102" fmla="*/ 848 h 10121"/>
              <a:gd name="connsiteX103" fmla="*/ 41 w 10000"/>
              <a:gd name="connsiteY103" fmla="*/ 727 h 10121"/>
              <a:gd name="connsiteX104" fmla="*/ 68 w 10000"/>
              <a:gd name="connsiteY104" fmla="*/ 607 h 10121"/>
              <a:gd name="connsiteX105" fmla="*/ 95 w 10000"/>
              <a:gd name="connsiteY105" fmla="*/ 491 h 10121"/>
              <a:gd name="connsiteX106" fmla="*/ 131 w 10000"/>
              <a:gd name="connsiteY106" fmla="*/ 375 h 10121"/>
              <a:gd name="connsiteX107" fmla="*/ 171 w 10000"/>
              <a:gd name="connsiteY107" fmla="*/ 259 h 10121"/>
              <a:gd name="connsiteX108" fmla="*/ 212 w 10000"/>
              <a:gd name="connsiteY108" fmla="*/ 148 h 10121"/>
              <a:gd name="connsiteX109" fmla="*/ 266 w 10000"/>
              <a:gd name="connsiteY109" fmla="*/ 37 h 10121"/>
              <a:gd name="connsiteX110" fmla="*/ 266 w 10000"/>
              <a:gd name="connsiteY110" fmla="*/ 37 h 10121"/>
              <a:gd name="connsiteX111" fmla="*/ 275 w 10000"/>
              <a:gd name="connsiteY111" fmla="*/ 0 h 10121"/>
              <a:gd name="connsiteX112" fmla="*/ 275 w 10000"/>
              <a:gd name="connsiteY112"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397 w 10000"/>
              <a:gd name="connsiteY18" fmla="*/ 9963 h 10121"/>
              <a:gd name="connsiteX19" fmla="*/ 9284 w 10000"/>
              <a:gd name="connsiteY19" fmla="*/ 9944 h 10121"/>
              <a:gd name="connsiteX20" fmla="*/ 7052 w 10000"/>
              <a:gd name="connsiteY20" fmla="*/ 8902 h 10121"/>
              <a:gd name="connsiteX21" fmla="*/ 6805 w 10000"/>
              <a:gd name="connsiteY21" fmla="*/ 8736 h 10121"/>
              <a:gd name="connsiteX22" fmla="*/ 6562 w 10000"/>
              <a:gd name="connsiteY22" fmla="*/ 8564 h 10121"/>
              <a:gd name="connsiteX23" fmla="*/ 6319 w 10000"/>
              <a:gd name="connsiteY23" fmla="*/ 8388 h 10121"/>
              <a:gd name="connsiteX24" fmla="*/ 6085 w 10000"/>
              <a:gd name="connsiteY24" fmla="*/ 8208 h 10121"/>
              <a:gd name="connsiteX25" fmla="*/ 5851 w 10000"/>
              <a:gd name="connsiteY25" fmla="*/ 8022 h 10121"/>
              <a:gd name="connsiteX26" fmla="*/ 5621 w 10000"/>
              <a:gd name="connsiteY26" fmla="*/ 7832 h 10121"/>
              <a:gd name="connsiteX27" fmla="*/ 5392 w 10000"/>
              <a:gd name="connsiteY27" fmla="*/ 7642 h 10121"/>
              <a:gd name="connsiteX28" fmla="*/ 5167 w 10000"/>
              <a:gd name="connsiteY28" fmla="*/ 7443 h 10121"/>
              <a:gd name="connsiteX29" fmla="*/ 5167 w 10000"/>
              <a:gd name="connsiteY29" fmla="*/ 7443 h 10121"/>
              <a:gd name="connsiteX30" fmla="*/ 4905 w 10000"/>
              <a:gd name="connsiteY30" fmla="*/ 7216 h 10121"/>
              <a:gd name="connsiteX31" fmla="*/ 4905 w 10000"/>
              <a:gd name="connsiteY31" fmla="*/ 7216 h 10121"/>
              <a:gd name="connsiteX32" fmla="*/ 4995 w 10000"/>
              <a:gd name="connsiteY32" fmla="*/ 7040 h 10121"/>
              <a:gd name="connsiteX33" fmla="*/ 5077 w 10000"/>
              <a:gd name="connsiteY33" fmla="*/ 6864 h 10121"/>
              <a:gd name="connsiteX34" fmla="*/ 5077 w 10000"/>
              <a:gd name="connsiteY34" fmla="*/ 6864 h 10121"/>
              <a:gd name="connsiteX35" fmla="*/ 5113 w 10000"/>
              <a:gd name="connsiteY35" fmla="*/ 6781 h 10121"/>
              <a:gd name="connsiteX36" fmla="*/ 5144 w 10000"/>
              <a:gd name="connsiteY36" fmla="*/ 6693 h 10121"/>
              <a:gd name="connsiteX37" fmla="*/ 5176 w 10000"/>
              <a:gd name="connsiteY37" fmla="*/ 6605 h 10121"/>
              <a:gd name="connsiteX38" fmla="*/ 5203 w 10000"/>
              <a:gd name="connsiteY38" fmla="*/ 6517 h 10121"/>
              <a:gd name="connsiteX39" fmla="*/ 5225 w 10000"/>
              <a:gd name="connsiteY39" fmla="*/ 6424 h 10121"/>
              <a:gd name="connsiteX40" fmla="*/ 5243 w 10000"/>
              <a:gd name="connsiteY40" fmla="*/ 6336 h 10121"/>
              <a:gd name="connsiteX41" fmla="*/ 5252 w 10000"/>
              <a:gd name="connsiteY41" fmla="*/ 6244 h 10121"/>
              <a:gd name="connsiteX42" fmla="*/ 5261 w 10000"/>
              <a:gd name="connsiteY42" fmla="*/ 6146 h 10121"/>
              <a:gd name="connsiteX43" fmla="*/ 5261 w 10000"/>
              <a:gd name="connsiteY43" fmla="*/ 6146 h 10121"/>
              <a:gd name="connsiteX44" fmla="*/ 5266 w 10000"/>
              <a:gd name="connsiteY44" fmla="*/ 6040 h 10121"/>
              <a:gd name="connsiteX45" fmla="*/ 5257 w 10000"/>
              <a:gd name="connsiteY45" fmla="*/ 5933 h 10121"/>
              <a:gd name="connsiteX46" fmla="*/ 5243 w 10000"/>
              <a:gd name="connsiteY46" fmla="*/ 5831 h 10121"/>
              <a:gd name="connsiteX47" fmla="*/ 5221 w 10000"/>
              <a:gd name="connsiteY47" fmla="*/ 5730 h 10121"/>
              <a:gd name="connsiteX48" fmla="*/ 5189 w 10000"/>
              <a:gd name="connsiteY48" fmla="*/ 5632 h 10121"/>
              <a:gd name="connsiteX49" fmla="*/ 5149 w 10000"/>
              <a:gd name="connsiteY49" fmla="*/ 5535 h 10121"/>
              <a:gd name="connsiteX50" fmla="*/ 5099 w 10000"/>
              <a:gd name="connsiteY50" fmla="*/ 5442 h 10121"/>
              <a:gd name="connsiteX51" fmla="*/ 5045 w 10000"/>
              <a:gd name="connsiteY51" fmla="*/ 5350 h 10121"/>
              <a:gd name="connsiteX52" fmla="*/ 5045 w 10000"/>
              <a:gd name="connsiteY52" fmla="*/ 5350 h 10121"/>
              <a:gd name="connsiteX53" fmla="*/ 4986 w 10000"/>
              <a:gd name="connsiteY53" fmla="*/ 5266 h 10121"/>
              <a:gd name="connsiteX54" fmla="*/ 4923 w 10000"/>
              <a:gd name="connsiteY54" fmla="*/ 5183 h 10121"/>
              <a:gd name="connsiteX55" fmla="*/ 4856 w 10000"/>
              <a:gd name="connsiteY55" fmla="*/ 5109 h 10121"/>
              <a:gd name="connsiteX56" fmla="*/ 4784 w 10000"/>
              <a:gd name="connsiteY56" fmla="*/ 5035 h 10121"/>
              <a:gd name="connsiteX57" fmla="*/ 4707 w 10000"/>
              <a:gd name="connsiteY57" fmla="*/ 4965 h 10121"/>
              <a:gd name="connsiteX58" fmla="*/ 4631 w 10000"/>
              <a:gd name="connsiteY58" fmla="*/ 4900 h 10121"/>
              <a:gd name="connsiteX59" fmla="*/ 4550 w 10000"/>
              <a:gd name="connsiteY59" fmla="*/ 4836 h 10121"/>
              <a:gd name="connsiteX60" fmla="*/ 4469 w 10000"/>
              <a:gd name="connsiteY60" fmla="*/ 4775 h 10121"/>
              <a:gd name="connsiteX61" fmla="*/ 4469 w 10000"/>
              <a:gd name="connsiteY61" fmla="*/ 4775 h 10121"/>
              <a:gd name="connsiteX62" fmla="*/ 4347 w 10000"/>
              <a:gd name="connsiteY62" fmla="*/ 4687 h 10121"/>
              <a:gd name="connsiteX63" fmla="*/ 4226 w 10000"/>
              <a:gd name="connsiteY63" fmla="*/ 4609 h 10121"/>
              <a:gd name="connsiteX64" fmla="*/ 4104 w 10000"/>
              <a:gd name="connsiteY64" fmla="*/ 4530 h 10121"/>
              <a:gd name="connsiteX65" fmla="*/ 3978 w 10000"/>
              <a:gd name="connsiteY65" fmla="*/ 4456 h 10121"/>
              <a:gd name="connsiteX66" fmla="*/ 3852 w 10000"/>
              <a:gd name="connsiteY66" fmla="*/ 4386 h 10121"/>
              <a:gd name="connsiteX67" fmla="*/ 3722 w 10000"/>
              <a:gd name="connsiteY67" fmla="*/ 4317 h 10121"/>
              <a:gd name="connsiteX68" fmla="*/ 3591 w 10000"/>
              <a:gd name="connsiteY68" fmla="*/ 4252 h 10121"/>
              <a:gd name="connsiteX69" fmla="*/ 3461 w 10000"/>
              <a:gd name="connsiteY69" fmla="*/ 4187 h 10121"/>
              <a:gd name="connsiteX70" fmla="*/ 3461 w 10000"/>
              <a:gd name="connsiteY70" fmla="*/ 4187 h 10121"/>
              <a:gd name="connsiteX71" fmla="*/ 3029 w 10000"/>
              <a:gd name="connsiteY71" fmla="*/ 3993 h 10121"/>
              <a:gd name="connsiteX72" fmla="*/ 2601 w 10000"/>
              <a:gd name="connsiteY72" fmla="*/ 3798 h 10121"/>
              <a:gd name="connsiteX73" fmla="*/ 1742 w 10000"/>
              <a:gd name="connsiteY73" fmla="*/ 3414 h 10121"/>
              <a:gd name="connsiteX74" fmla="*/ 1742 w 10000"/>
              <a:gd name="connsiteY74" fmla="*/ 3414 h 10121"/>
              <a:gd name="connsiteX75" fmla="*/ 1598 w 10000"/>
              <a:gd name="connsiteY75" fmla="*/ 3349 h 10121"/>
              <a:gd name="connsiteX76" fmla="*/ 1454 w 10000"/>
              <a:gd name="connsiteY76" fmla="*/ 3279 h 10121"/>
              <a:gd name="connsiteX77" fmla="*/ 1314 w 10000"/>
              <a:gd name="connsiteY77" fmla="*/ 3205 h 10121"/>
              <a:gd name="connsiteX78" fmla="*/ 1179 w 10000"/>
              <a:gd name="connsiteY78" fmla="*/ 3126 h 10121"/>
              <a:gd name="connsiteX79" fmla="*/ 1049 w 10000"/>
              <a:gd name="connsiteY79" fmla="*/ 3038 h 10121"/>
              <a:gd name="connsiteX80" fmla="*/ 923 w 10000"/>
              <a:gd name="connsiteY80" fmla="*/ 2946 h 10121"/>
              <a:gd name="connsiteX81" fmla="*/ 797 w 10000"/>
              <a:gd name="connsiteY81" fmla="*/ 2849 h 10121"/>
              <a:gd name="connsiteX82" fmla="*/ 680 w 10000"/>
              <a:gd name="connsiteY82" fmla="*/ 2742 h 10121"/>
              <a:gd name="connsiteX83" fmla="*/ 680 w 10000"/>
              <a:gd name="connsiteY83" fmla="*/ 2742 h 10121"/>
              <a:gd name="connsiteX84" fmla="*/ 590 w 10000"/>
              <a:gd name="connsiteY84" fmla="*/ 2649 h 10121"/>
              <a:gd name="connsiteX85" fmla="*/ 504 w 10000"/>
              <a:gd name="connsiteY85" fmla="*/ 2557 h 10121"/>
              <a:gd name="connsiteX86" fmla="*/ 423 w 10000"/>
              <a:gd name="connsiteY86" fmla="*/ 2459 h 10121"/>
              <a:gd name="connsiteX87" fmla="*/ 356 w 10000"/>
              <a:gd name="connsiteY87" fmla="*/ 2362 h 10121"/>
              <a:gd name="connsiteX88" fmla="*/ 288 w 10000"/>
              <a:gd name="connsiteY88" fmla="*/ 2260 h 10121"/>
              <a:gd name="connsiteX89" fmla="*/ 230 w 10000"/>
              <a:gd name="connsiteY89" fmla="*/ 2154 h 10121"/>
              <a:gd name="connsiteX90" fmla="*/ 180 w 10000"/>
              <a:gd name="connsiteY90" fmla="*/ 2047 h 10121"/>
              <a:gd name="connsiteX91" fmla="*/ 131 w 10000"/>
              <a:gd name="connsiteY91" fmla="*/ 1941 h 10121"/>
              <a:gd name="connsiteX92" fmla="*/ 95 w 10000"/>
              <a:gd name="connsiteY92" fmla="*/ 1830 h 10121"/>
              <a:gd name="connsiteX93" fmla="*/ 63 w 10000"/>
              <a:gd name="connsiteY93" fmla="*/ 1714 h 10121"/>
              <a:gd name="connsiteX94" fmla="*/ 36 w 10000"/>
              <a:gd name="connsiteY94" fmla="*/ 1593 h 10121"/>
              <a:gd name="connsiteX95" fmla="*/ 18 w 10000"/>
              <a:gd name="connsiteY95" fmla="*/ 1473 h 10121"/>
              <a:gd name="connsiteX96" fmla="*/ 5 w 10000"/>
              <a:gd name="connsiteY96" fmla="*/ 1352 h 10121"/>
              <a:gd name="connsiteX97" fmla="*/ 0 w 10000"/>
              <a:gd name="connsiteY97" fmla="*/ 1227 h 10121"/>
              <a:gd name="connsiteX98" fmla="*/ 0 w 10000"/>
              <a:gd name="connsiteY98" fmla="*/ 1098 h 10121"/>
              <a:gd name="connsiteX99" fmla="*/ 9 w 10000"/>
              <a:gd name="connsiteY99" fmla="*/ 968 h 10121"/>
              <a:gd name="connsiteX100" fmla="*/ 9 w 10000"/>
              <a:gd name="connsiteY100" fmla="*/ 968 h 10121"/>
              <a:gd name="connsiteX101" fmla="*/ 23 w 10000"/>
              <a:gd name="connsiteY101" fmla="*/ 848 h 10121"/>
              <a:gd name="connsiteX102" fmla="*/ 41 w 10000"/>
              <a:gd name="connsiteY102" fmla="*/ 727 h 10121"/>
              <a:gd name="connsiteX103" fmla="*/ 68 w 10000"/>
              <a:gd name="connsiteY103" fmla="*/ 607 h 10121"/>
              <a:gd name="connsiteX104" fmla="*/ 95 w 10000"/>
              <a:gd name="connsiteY104" fmla="*/ 491 h 10121"/>
              <a:gd name="connsiteX105" fmla="*/ 131 w 10000"/>
              <a:gd name="connsiteY105" fmla="*/ 375 h 10121"/>
              <a:gd name="connsiteX106" fmla="*/ 171 w 10000"/>
              <a:gd name="connsiteY106" fmla="*/ 259 h 10121"/>
              <a:gd name="connsiteX107" fmla="*/ 212 w 10000"/>
              <a:gd name="connsiteY107" fmla="*/ 148 h 10121"/>
              <a:gd name="connsiteX108" fmla="*/ 266 w 10000"/>
              <a:gd name="connsiteY108" fmla="*/ 37 h 10121"/>
              <a:gd name="connsiteX109" fmla="*/ 266 w 10000"/>
              <a:gd name="connsiteY109" fmla="*/ 37 h 10121"/>
              <a:gd name="connsiteX110" fmla="*/ 275 w 10000"/>
              <a:gd name="connsiteY110" fmla="*/ 0 h 10121"/>
              <a:gd name="connsiteX111" fmla="*/ 275 w 10000"/>
              <a:gd name="connsiteY111" fmla="*/ 0 h 1012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284 w 10000"/>
              <a:gd name="connsiteY18" fmla="*/ 9944 h 10000"/>
              <a:gd name="connsiteX19" fmla="*/ 7052 w 10000"/>
              <a:gd name="connsiteY19" fmla="*/ 8902 h 10000"/>
              <a:gd name="connsiteX20" fmla="*/ 6805 w 10000"/>
              <a:gd name="connsiteY20" fmla="*/ 8736 h 10000"/>
              <a:gd name="connsiteX21" fmla="*/ 6562 w 10000"/>
              <a:gd name="connsiteY21" fmla="*/ 8564 h 10000"/>
              <a:gd name="connsiteX22" fmla="*/ 6319 w 10000"/>
              <a:gd name="connsiteY22" fmla="*/ 8388 h 10000"/>
              <a:gd name="connsiteX23" fmla="*/ 6085 w 10000"/>
              <a:gd name="connsiteY23" fmla="*/ 8208 h 10000"/>
              <a:gd name="connsiteX24" fmla="*/ 5851 w 10000"/>
              <a:gd name="connsiteY24" fmla="*/ 8022 h 10000"/>
              <a:gd name="connsiteX25" fmla="*/ 5621 w 10000"/>
              <a:gd name="connsiteY25" fmla="*/ 7832 h 10000"/>
              <a:gd name="connsiteX26" fmla="*/ 5392 w 10000"/>
              <a:gd name="connsiteY26" fmla="*/ 7642 h 10000"/>
              <a:gd name="connsiteX27" fmla="*/ 5167 w 10000"/>
              <a:gd name="connsiteY27" fmla="*/ 7443 h 10000"/>
              <a:gd name="connsiteX28" fmla="*/ 5167 w 10000"/>
              <a:gd name="connsiteY28" fmla="*/ 7443 h 10000"/>
              <a:gd name="connsiteX29" fmla="*/ 4905 w 10000"/>
              <a:gd name="connsiteY29" fmla="*/ 7216 h 10000"/>
              <a:gd name="connsiteX30" fmla="*/ 4905 w 10000"/>
              <a:gd name="connsiteY30" fmla="*/ 7216 h 10000"/>
              <a:gd name="connsiteX31" fmla="*/ 4995 w 10000"/>
              <a:gd name="connsiteY31" fmla="*/ 7040 h 10000"/>
              <a:gd name="connsiteX32" fmla="*/ 5077 w 10000"/>
              <a:gd name="connsiteY32" fmla="*/ 6864 h 10000"/>
              <a:gd name="connsiteX33" fmla="*/ 5077 w 10000"/>
              <a:gd name="connsiteY33" fmla="*/ 6864 h 10000"/>
              <a:gd name="connsiteX34" fmla="*/ 5113 w 10000"/>
              <a:gd name="connsiteY34" fmla="*/ 6781 h 10000"/>
              <a:gd name="connsiteX35" fmla="*/ 5144 w 10000"/>
              <a:gd name="connsiteY35" fmla="*/ 6693 h 10000"/>
              <a:gd name="connsiteX36" fmla="*/ 5176 w 10000"/>
              <a:gd name="connsiteY36" fmla="*/ 6605 h 10000"/>
              <a:gd name="connsiteX37" fmla="*/ 5203 w 10000"/>
              <a:gd name="connsiteY37" fmla="*/ 6517 h 10000"/>
              <a:gd name="connsiteX38" fmla="*/ 5225 w 10000"/>
              <a:gd name="connsiteY38" fmla="*/ 6424 h 10000"/>
              <a:gd name="connsiteX39" fmla="*/ 5243 w 10000"/>
              <a:gd name="connsiteY39" fmla="*/ 6336 h 10000"/>
              <a:gd name="connsiteX40" fmla="*/ 5252 w 10000"/>
              <a:gd name="connsiteY40" fmla="*/ 6244 h 10000"/>
              <a:gd name="connsiteX41" fmla="*/ 5261 w 10000"/>
              <a:gd name="connsiteY41" fmla="*/ 6146 h 10000"/>
              <a:gd name="connsiteX42" fmla="*/ 5261 w 10000"/>
              <a:gd name="connsiteY42" fmla="*/ 6146 h 10000"/>
              <a:gd name="connsiteX43" fmla="*/ 5266 w 10000"/>
              <a:gd name="connsiteY43" fmla="*/ 6040 h 10000"/>
              <a:gd name="connsiteX44" fmla="*/ 5257 w 10000"/>
              <a:gd name="connsiteY44" fmla="*/ 5933 h 10000"/>
              <a:gd name="connsiteX45" fmla="*/ 5243 w 10000"/>
              <a:gd name="connsiteY45" fmla="*/ 5831 h 10000"/>
              <a:gd name="connsiteX46" fmla="*/ 5221 w 10000"/>
              <a:gd name="connsiteY46" fmla="*/ 5730 h 10000"/>
              <a:gd name="connsiteX47" fmla="*/ 5189 w 10000"/>
              <a:gd name="connsiteY47" fmla="*/ 5632 h 10000"/>
              <a:gd name="connsiteX48" fmla="*/ 5149 w 10000"/>
              <a:gd name="connsiteY48" fmla="*/ 5535 h 10000"/>
              <a:gd name="connsiteX49" fmla="*/ 5099 w 10000"/>
              <a:gd name="connsiteY49" fmla="*/ 5442 h 10000"/>
              <a:gd name="connsiteX50" fmla="*/ 5045 w 10000"/>
              <a:gd name="connsiteY50" fmla="*/ 5350 h 10000"/>
              <a:gd name="connsiteX51" fmla="*/ 5045 w 10000"/>
              <a:gd name="connsiteY51" fmla="*/ 5350 h 10000"/>
              <a:gd name="connsiteX52" fmla="*/ 4986 w 10000"/>
              <a:gd name="connsiteY52" fmla="*/ 5266 h 10000"/>
              <a:gd name="connsiteX53" fmla="*/ 4923 w 10000"/>
              <a:gd name="connsiteY53" fmla="*/ 5183 h 10000"/>
              <a:gd name="connsiteX54" fmla="*/ 4856 w 10000"/>
              <a:gd name="connsiteY54" fmla="*/ 5109 h 10000"/>
              <a:gd name="connsiteX55" fmla="*/ 4784 w 10000"/>
              <a:gd name="connsiteY55" fmla="*/ 5035 h 10000"/>
              <a:gd name="connsiteX56" fmla="*/ 4707 w 10000"/>
              <a:gd name="connsiteY56" fmla="*/ 4965 h 10000"/>
              <a:gd name="connsiteX57" fmla="*/ 4631 w 10000"/>
              <a:gd name="connsiteY57" fmla="*/ 4900 h 10000"/>
              <a:gd name="connsiteX58" fmla="*/ 4550 w 10000"/>
              <a:gd name="connsiteY58" fmla="*/ 4836 h 10000"/>
              <a:gd name="connsiteX59" fmla="*/ 4469 w 10000"/>
              <a:gd name="connsiteY59" fmla="*/ 4775 h 10000"/>
              <a:gd name="connsiteX60" fmla="*/ 4469 w 10000"/>
              <a:gd name="connsiteY60" fmla="*/ 4775 h 10000"/>
              <a:gd name="connsiteX61" fmla="*/ 4347 w 10000"/>
              <a:gd name="connsiteY61" fmla="*/ 4687 h 10000"/>
              <a:gd name="connsiteX62" fmla="*/ 4226 w 10000"/>
              <a:gd name="connsiteY62" fmla="*/ 4609 h 10000"/>
              <a:gd name="connsiteX63" fmla="*/ 4104 w 10000"/>
              <a:gd name="connsiteY63" fmla="*/ 4530 h 10000"/>
              <a:gd name="connsiteX64" fmla="*/ 3978 w 10000"/>
              <a:gd name="connsiteY64" fmla="*/ 4456 h 10000"/>
              <a:gd name="connsiteX65" fmla="*/ 3852 w 10000"/>
              <a:gd name="connsiteY65" fmla="*/ 4386 h 10000"/>
              <a:gd name="connsiteX66" fmla="*/ 3722 w 10000"/>
              <a:gd name="connsiteY66" fmla="*/ 4317 h 10000"/>
              <a:gd name="connsiteX67" fmla="*/ 3591 w 10000"/>
              <a:gd name="connsiteY67" fmla="*/ 4252 h 10000"/>
              <a:gd name="connsiteX68" fmla="*/ 3461 w 10000"/>
              <a:gd name="connsiteY68" fmla="*/ 4187 h 10000"/>
              <a:gd name="connsiteX69" fmla="*/ 3461 w 10000"/>
              <a:gd name="connsiteY69" fmla="*/ 4187 h 10000"/>
              <a:gd name="connsiteX70" fmla="*/ 3029 w 10000"/>
              <a:gd name="connsiteY70" fmla="*/ 3993 h 10000"/>
              <a:gd name="connsiteX71" fmla="*/ 2601 w 10000"/>
              <a:gd name="connsiteY71" fmla="*/ 3798 h 10000"/>
              <a:gd name="connsiteX72" fmla="*/ 1742 w 10000"/>
              <a:gd name="connsiteY72" fmla="*/ 3414 h 10000"/>
              <a:gd name="connsiteX73" fmla="*/ 1742 w 10000"/>
              <a:gd name="connsiteY73" fmla="*/ 3414 h 10000"/>
              <a:gd name="connsiteX74" fmla="*/ 1598 w 10000"/>
              <a:gd name="connsiteY74" fmla="*/ 3349 h 10000"/>
              <a:gd name="connsiteX75" fmla="*/ 1454 w 10000"/>
              <a:gd name="connsiteY75" fmla="*/ 3279 h 10000"/>
              <a:gd name="connsiteX76" fmla="*/ 1314 w 10000"/>
              <a:gd name="connsiteY76" fmla="*/ 3205 h 10000"/>
              <a:gd name="connsiteX77" fmla="*/ 1179 w 10000"/>
              <a:gd name="connsiteY77" fmla="*/ 3126 h 10000"/>
              <a:gd name="connsiteX78" fmla="*/ 1049 w 10000"/>
              <a:gd name="connsiteY78" fmla="*/ 3038 h 10000"/>
              <a:gd name="connsiteX79" fmla="*/ 923 w 10000"/>
              <a:gd name="connsiteY79" fmla="*/ 2946 h 10000"/>
              <a:gd name="connsiteX80" fmla="*/ 797 w 10000"/>
              <a:gd name="connsiteY80" fmla="*/ 2849 h 10000"/>
              <a:gd name="connsiteX81" fmla="*/ 680 w 10000"/>
              <a:gd name="connsiteY81" fmla="*/ 2742 h 10000"/>
              <a:gd name="connsiteX82" fmla="*/ 680 w 10000"/>
              <a:gd name="connsiteY82" fmla="*/ 2742 h 10000"/>
              <a:gd name="connsiteX83" fmla="*/ 590 w 10000"/>
              <a:gd name="connsiteY83" fmla="*/ 2649 h 10000"/>
              <a:gd name="connsiteX84" fmla="*/ 504 w 10000"/>
              <a:gd name="connsiteY84" fmla="*/ 2557 h 10000"/>
              <a:gd name="connsiteX85" fmla="*/ 423 w 10000"/>
              <a:gd name="connsiteY85" fmla="*/ 2459 h 10000"/>
              <a:gd name="connsiteX86" fmla="*/ 356 w 10000"/>
              <a:gd name="connsiteY86" fmla="*/ 2362 h 10000"/>
              <a:gd name="connsiteX87" fmla="*/ 288 w 10000"/>
              <a:gd name="connsiteY87" fmla="*/ 2260 h 10000"/>
              <a:gd name="connsiteX88" fmla="*/ 230 w 10000"/>
              <a:gd name="connsiteY88" fmla="*/ 2154 h 10000"/>
              <a:gd name="connsiteX89" fmla="*/ 180 w 10000"/>
              <a:gd name="connsiteY89" fmla="*/ 2047 h 10000"/>
              <a:gd name="connsiteX90" fmla="*/ 131 w 10000"/>
              <a:gd name="connsiteY90" fmla="*/ 1941 h 10000"/>
              <a:gd name="connsiteX91" fmla="*/ 95 w 10000"/>
              <a:gd name="connsiteY91" fmla="*/ 1830 h 10000"/>
              <a:gd name="connsiteX92" fmla="*/ 63 w 10000"/>
              <a:gd name="connsiteY92" fmla="*/ 1714 h 10000"/>
              <a:gd name="connsiteX93" fmla="*/ 36 w 10000"/>
              <a:gd name="connsiteY93" fmla="*/ 1593 h 10000"/>
              <a:gd name="connsiteX94" fmla="*/ 18 w 10000"/>
              <a:gd name="connsiteY94" fmla="*/ 1473 h 10000"/>
              <a:gd name="connsiteX95" fmla="*/ 5 w 10000"/>
              <a:gd name="connsiteY95" fmla="*/ 1352 h 10000"/>
              <a:gd name="connsiteX96" fmla="*/ 0 w 10000"/>
              <a:gd name="connsiteY96" fmla="*/ 1227 h 10000"/>
              <a:gd name="connsiteX97" fmla="*/ 0 w 10000"/>
              <a:gd name="connsiteY97" fmla="*/ 1098 h 10000"/>
              <a:gd name="connsiteX98" fmla="*/ 9 w 10000"/>
              <a:gd name="connsiteY98" fmla="*/ 968 h 10000"/>
              <a:gd name="connsiteX99" fmla="*/ 9 w 10000"/>
              <a:gd name="connsiteY99" fmla="*/ 968 h 10000"/>
              <a:gd name="connsiteX100" fmla="*/ 23 w 10000"/>
              <a:gd name="connsiteY100" fmla="*/ 848 h 10000"/>
              <a:gd name="connsiteX101" fmla="*/ 41 w 10000"/>
              <a:gd name="connsiteY101" fmla="*/ 727 h 10000"/>
              <a:gd name="connsiteX102" fmla="*/ 68 w 10000"/>
              <a:gd name="connsiteY102" fmla="*/ 607 h 10000"/>
              <a:gd name="connsiteX103" fmla="*/ 95 w 10000"/>
              <a:gd name="connsiteY103" fmla="*/ 491 h 10000"/>
              <a:gd name="connsiteX104" fmla="*/ 131 w 10000"/>
              <a:gd name="connsiteY104" fmla="*/ 375 h 10000"/>
              <a:gd name="connsiteX105" fmla="*/ 171 w 10000"/>
              <a:gd name="connsiteY105" fmla="*/ 259 h 10000"/>
              <a:gd name="connsiteX106" fmla="*/ 212 w 10000"/>
              <a:gd name="connsiteY106" fmla="*/ 148 h 10000"/>
              <a:gd name="connsiteX107" fmla="*/ 266 w 10000"/>
              <a:gd name="connsiteY107" fmla="*/ 37 h 10000"/>
              <a:gd name="connsiteX108" fmla="*/ 266 w 10000"/>
              <a:gd name="connsiteY108" fmla="*/ 37 h 10000"/>
              <a:gd name="connsiteX109" fmla="*/ 275 w 10000"/>
              <a:gd name="connsiteY109" fmla="*/ 0 h 10000"/>
              <a:gd name="connsiteX110" fmla="*/ 275 w 10000"/>
              <a:gd name="connsiteY11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7052 w 10000"/>
              <a:gd name="connsiteY18" fmla="*/ 8902 h 10000"/>
              <a:gd name="connsiteX19" fmla="*/ 6805 w 10000"/>
              <a:gd name="connsiteY19" fmla="*/ 8736 h 10000"/>
              <a:gd name="connsiteX20" fmla="*/ 6562 w 10000"/>
              <a:gd name="connsiteY20" fmla="*/ 8564 h 10000"/>
              <a:gd name="connsiteX21" fmla="*/ 6319 w 10000"/>
              <a:gd name="connsiteY21" fmla="*/ 8388 h 10000"/>
              <a:gd name="connsiteX22" fmla="*/ 6085 w 10000"/>
              <a:gd name="connsiteY22" fmla="*/ 8208 h 10000"/>
              <a:gd name="connsiteX23" fmla="*/ 5851 w 10000"/>
              <a:gd name="connsiteY23" fmla="*/ 8022 h 10000"/>
              <a:gd name="connsiteX24" fmla="*/ 5621 w 10000"/>
              <a:gd name="connsiteY24" fmla="*/ 7832 h 10000"/>
              <a:gd name="connsiteX25" fmla="*/ 5392 w 10000"/>
              <a:gd name="connsiteY25" fmla="*/ 7642 h 10000"/>
              <a:gd name="connsiteX26" fmla="*/ 5167 w 10000"/>
              <a:gd name="connsiteY26" fmla="*/ 7443 h 10000"/>
              <a:gd name="connsiteX27" fmla="*/ 5167 w 10000"/>
              <a:gd name="connsiteY27" fmla="*/ 7443 h 10000"/>
              <a:gd name="connsiteX28" fmla="*/ 4905 w 10000"/>
              <a:gd name="connsiteY28" fmla="*/ 7216 h 10000"/>
              <a:gd name="connsiteX29" fmla="*/ 4905 w 10000"/>
              <a:gd name="connsiteY29" fmla="*/ 7216 h 10000"/>
              <a:gd name="connsiteX30" fmla="*/ 4995 w 10000"/>
              <a:gd name="connsiteY30" fmla="*/ 7040 h 10000"/>
              <a:gd name="connsiteX31" fmla="*/ 5077 w 10000"/>
              <a:gd name="connsiteY31" fmla="*/ 6864 h 10000"/>
              <a:gd name="connsiteX32" fmla="*/ 5077 w 10000"/>
              <a:gd name="connsiteY32" fmla="*/ 6864 h 10000"/>
              <a:gd name="connsiteX33" fmla="*/ 5113 w 10000"/>
              <a:gd name="connsiteY33" fmla="*/ 6781 h 10000"/>
              <a:gd name="connsiteX34" fmla="*/ 5144 w 10000"/>
              <a:gd name="connsiteY34" fmla="*/ 6693 h 10000"/>
              <a:gd name="connsiteX35" fmla="*/ 5176 w 10000"/>
              <a:gd name="connsiteY35" fmla="*/ 6605 h 10000"/>
              <a:gd name="connsiteX36" fmla="*/ 5203 w 10000"/>
              <a:gd name="connsiteY36" fmla="*/ 6517 h 10000"/>
              <a:gd name="connsiteX37" fmla="*/ 5225 w 10000"/>
              <a:gd name="connsiteY37" fmla="*/ 6424 h 10000"/>
              <a:gd name="connsiteX38" fmla="*/ 5243 w 10000"/>
              <a:gd name="connsiteY38" fmla="*/ 6336 h 10000"/>
              <a:gd name="connsiteX39" fmla="*/ 5252 w 10000"/>
              <a:gd name="connsiteY39" fmla="*/ 6244 h 10000"/>
              <a:gd name="connsiteX40" fmla="*/ 5261 w 10000"/>
              <a:gd name="connsiteY40" fmla="*/ 6146 h 10000"/>
              <a:gd name="connsiteX41" fmla="*/ 5261 w 10000"/>
              <a:gd name="connsiteY41" fmla="*/ 6146 h 10000"/>
              <a:gd name="connsiteX42" fmla="*/ 5266 w 10000"/>
              <a:gd name="connsiteY42" fmla="*/ 6040 h 10000"/>
              <a:gd name="connsiteX43" fmla="*/ 5257 w 10000"/>
              <a:gd name="connsiteY43" fmla="*/ 5933 h 10000"/>
              <a:gd name="connsiteX44" fmla="*/ 5243 w 10000"/>
              <a:gd name="connsiteY44" fmla="*/ 5831 h 10000"/>
              <a:gd name="connsiteX45" fmla="*/ 5221 w 10000"/>
              <a:gd name="connsiteY45" fmla="*/ 5730 h 10000"/>
              <a:gd name="connsiteX46" fmla="*/ 5189 w 10000"/>
              <a:gd name="connsiteY46" fmla="*/ 5632 h 10000"/>
              <a:gd name="connsiteX47" fmla="*/ 5149 w 10000"/>
              <a:gd name="connsiteY47" fmla="*/ 5535 h 10000"/>
              <a:gd name="connsiteX48" fmla="*/ 5099 w 10000"/>
              <a:gd name="connsiteY48" fmla="*/ 5442 h 10000"/>
              <a:gd name="connsiteX49" fmla="*/ 5045 w 10000"/>
              <a:gd name="connsiteY49" fmla="*/ 5350 h 10000"/>
              <a:gd name="connsiteX50" fmla="*/ 5045 w 10000"/>
              <a:gd name="connsiteY50" fmla="*/ 5350 h 10000"/>
              <a:gd name="connsiteX51" fmla="*/ 4986 w 10000"/>
              <a:gd name="connsiteY51" fmla="*/ 5266 h 10000"/>
              <a:gd name="connsiteX52" fmla="*/ 4923 w 10000"/>
              <a:gd name="connsiteY52" fmla="*/ 5183 h 10000"/>
              <a:gd name="connsiteX53" fmla="*/ 4856 w 10000"/>
              <a:gd name="connsiteY53" fmla="*/ 5109 h 10000"/>
              <a:gd name="connsiteX54" fmla="*/ 4784 w 10000"/>
              <a:gd name="connsiteY54" fmla="*/ 5035 h 10000"/>
              <a:gd name="connsiteX55" fmla="*/ 4707 w 10000"/>
              <a:gd name="connsiteY55" fmla="*/ 4965 h 10000"/>
              <a:gd name="connsiteX56" fmla="*/ 4631 w 10000"/>
              <a:gd name="connsiteY56" fmla="*/ 4900 h 10000"/>
              <a:gd name="connsiteX57" fmla="*/ 4550 w 10000"/>
              <a:gd name="connsiteY57" fmla="*/ 4836 h 10000"/>
              <a:gd name="connsiteX58" fmla="*/ 4469 w 10000"/>
              <a:gd name="connsiteY58" fmla="*/ 4775 h 10000"/>
              <a:gd name="connsiteX59" fmla="*/ 4469 w 10000"/>
              <a:gd name="connsiteY59" fmla="*/ 4775 h 10000"/>
              <a:gd name="connsiteX60" fmla="*/ 4347 w 10000"/>
              <a:gd name="connsiteY60" fmla="*/ 4687 h 10000"/>
              <a:gd name="connsiteX61" fmla="*/ 4226 w 10000"/>
              <a:gd name="connsiteY61" fmla="*/ 4609 h 10000"/>
              <a:gd name="connsiteX62" fmla="*/ 4104 w 10000"/>
              <a:gd name="connsiteY62" fmla="*/ 4530 h 10000"/>
              <a:gd name="connsiteX63" fmla="*/ 3978 w 10000"/>
              <a:gd name="connsiteY63" fmla="*/ 4456 h 10000"/>
              <a:gd name="connsiteX64" fmla="*/ 3852 w 10000"/>
              <a:gd name="connsiteY64" fmla="*/ 4386 h 10000"/>
              <a:gd name="connsiteX65" fmla="*/ 3722 w 10000"/>
              <a:gd name="connsiteY65" fmla="*/ 4317 h 10000"/>
              <a:gd name="connsiteX66" fmla="*/ 3591 w 10000"/>
              <a:gd name="connsiteY66" fmla="*/ 4252 h 10000"/>
              <a:gd name="connsiteX67" fmla="*/ 3461 w 10000"/>
              <a:gd name="connsiteY67" fmla="*/ 4187 h 10000"/>
              <a:gd name="connsiteX68" fmla="*/ 3461 w 10000"/>
              <a:gd name="connsiteY68" fmla="*/ 4187 h 10000"/>
              <a:gd name="connsiteX69" fmla="*/ 3029 w 10000"/>
              <a:gd name="connsiteY69" fmla="*/ 3993 h 10000"/>
              <a:gd name="connsiteX70" fmla="*/ 2601 w 10000"/>
              <a:gd name="connsiteY70" fmla="*/ 3798 h 10000"/>
              <a:gd name="connsiteX71" fmla="*/ 1742 w 10000"/>
              <a:gd name="connsiteY71" fmla="*/ 3414 h 10000"/>
              <a:gd name="connsiteX72" fmla="*/ 1742 w 10000"/>
              <a:gd name="connsiteY72" fmla="*/ 3414 h 10000"/>
              <a:gd name="connsiteX73" fmla="*/ 1598 w 10000"/>
              <a:gd name="connsiteY73" fmla="*/ 3349 h 10000"/>
              <a:gd name="connsiteX74" fmla="*/ 1454 w 10000"/>
              <a:gd name="connsiteY74" fmla="*/ 3279 h 10000"/>
              <a:gd name="connsiteX75" fmla="*/ 1314 w 10000"/>
              <a:gd name="connsiteY75" fmla="*/ 3205 h 10000"/>
              <a:gd name="connsiteX76" fmla="*/ 1179 w 10000"/>
              <a:gd name="connsiteY76" fmla="*/ 3126 h 10000"/>
              <a:gd name="connsiteX77" fmla="*/ 1049 w 10000"/>
              <a:gd name="connsiteY77" fmla="*/ 3038 h 10000"/>
              <a:gd name="connsiteX78" fmla="*/ 923 w 10000"/>
              <a:gd name="connsiteY78" fmla="*/ 2946 h 10000"/>
              <a:gd name="connsiteX79" fmla="*/ 797 w 10000"/>
              <a:gd name="connsiteY79" fmla="*/ 2849 h 10000"/>
              <a:gd name="connsiteX80" fmla="*/ 680 w 10000"/>
              <a:gd name="connsiteY80" fmla="*/ 2742 h 10000"/>
              <a:gd name="connsiteX81" fmla="*/ 680 w 10000"/>
              <a:gd name="connsiteY81" fmla="*/ 2742 h 10000"/>
              <a:gd name="connsiteX82" fmla="*/ 590 w 10000"/>
              <a:gd name="connsiteY82" fmla="*/ 2649 h 10000"/>
              <a:gd name="connsiteX83" fmla="*/ 504 w 10000"/>
              <a:gd name="connsiteY83" fmla="*/ 2557 h 10000"/>
              <a:gd name="connsiteX84" fmla="*/ 423 w 10000"/>
              <a:gd name="connsiteY84" fmla="*/ 2459 h 10000"/>
              <a:gd name="connsiteX85" fmla="*/ 356 w 10000"/>
              <a:gd name="connsiteY85" fmla="*/ 2362 h 10000"/>
              <a:gd name="connsiteX86" fmla="*/ 288 w 10000"/>
              <a:gd name="connsiteY86" fmla="*/ 2260 h 10000"/>
              <a:gd name="connsiteX87" fmla="*/ 230 w 10000"/>
              <a:gd name="connsiteY87" fmla="*/ 2154 h 10000"/>
              <a:gd name="connsiteX88" fmla="*/ 180 w 10000"/>
              <a:gd name="connsiteY88" fmla="*/ 2047 h 10000"/>
              <a:gd name="connsiteX89" fmla="*/ 131 w 10000"/>
              <a:gd name="connsiteY89" fmla="*/ 1941 h 10000"/>
              <a:gd name="connsiteX90" fmla="*/ 95 w 10000"/>
              <a:gd name="connsiteY90" fmla="*/ 1830 h 10000"/>
              <a:gd name="connsiteX91" fmla="*/ 63 w 10000"/>
              <a:gd name="connsiteY91" fmla="*/ 1714 h 10000"/>
              <a:gd name="connsiteX92" fmla="*/ 36 w 10000"/>
              <a:gd name="connsiteY92" fmla="*/ 1593 h 10000"/>
              <a:gd name="connsiteX93" fmla="*/ 18 w 10000"/>
              <a:gd name="connsiteY93" fmla="*/ 1473 h 10000"/>
              <a:gd name="connsiteX94" fmla="*/ 5 w 10000"/>
              <a:gd name="connsiteY94" fmla="*/ 1352 h 10000"/>
              <a:gd name="connsiteX95" fmla="*/ 0 w 10000"/>
              <a:gd name="connsiteY95" fmla="*/ 1227 h 10000"/>
              <a:gd name="connsiteX96" fmla="*/ 0 w 10000"/>
              <a:gd name="connsiteY96" fmla="*/ 1098 h 10000"/>
              <a:gd name="connsiteX97" fmla="*/ 9 w 10000"/>
              <a:gd name="connsiteY97" fmla="*/ 968 h 10000"/>
              <a:gd name="connsiteX98" fmla="*/ 9 w 10000"/>
              <a:gd name="connsiteY98" fmla="*/ 968 h 10000"/>
              <a:gd name="connsiteX99" fmla="*/ 23 w 10000"/>
              <a:gd name="connsiteY99" fmla="*/ 848 h 10000"/>
              <a:gd name="connsiteX100" fmla="*/ 41 w 10000"/>
              <a:gd name="connsiteY100" fmla="*/ 727 h 10000"/>
              <a:gd name="connsiteX101" fmla="*/ 68 w 10000"/>
              <a:gd name="connsiteY101" fmla="*/ 607 h 10000"/>
              <a:gd name="connsiteX102" fmla="*/ 95 w 10000"/>
              <a:gd name="connsiteY102" fmla="*/ 491 h 10000"/>
              <a:gd name="connsiteX103" fmla="*/ 131 w 10000"/>
              <a:gd name="connsiteY103" fmla="*/ 375 h 10000"/>
              <a:gd name="connsiteX104" fmla="*/ 171 w 10000"/>
              <a:gd name="connsiteY104" fmla="*/ 259 h 10000"/>
              <a:gd name="connsiteX105" fmla="*/ 212 w 10000"/>
              <a:gd name="connsiteY105" fmla="*/ 148 h 10000"/>
              <a:gd name="connsiteX106" fmla="*/ 266 w 10000"/>
              <a:gd name="connsiteY106" fmla="*/ 37 h 10000"/>
              <a:gd name="connsiteX107" fmla="*/ 266 w 10000"/>
              <a:gd name="connsiteY107" fmla="*/ 37 h 10000"/>
              <a:gd name="connsiteX108" fmla="*/ 275 w 10000"/>
              <a:gd name="connsiteY108" fmla="*/ 0 h 10000"/>
              <a:gd name="connsiteX109" fmla="*/ 275 w 10000"/>
              <a:gd name="connsiteY109" fmla="*/ 0 h 10000"/>
              <a:gd name="connsiteX0" fmla="*/ 275 w 10000"/>
              <a:gd name="connsiteY0" fmla="*/ 250 h 10250"/>
              <a:gd name="connsiteX1" fmla="*/ 275 w 10000"/>
              <a:gd name="connsiteY1" fmla="*/ 250 h 10250"/>
              <a:gd name="connsiteX2" fmla="*/ 10000 w 10000"/>
              <a:gd name="connsiteY2" fmla="*/ 250 h 10250"/>
              <a:gd name="connsiteX3" fmla="*/ 9594 w 10000"/>
              <a:gd name="connsiteY3" fmla="*/ 0 h 10250"/>
              <a:gd name="connsiteX4" fmla="*/ 10000 w 10000"/>
              <a:gd name="connsiteY4" fmla="*/ 324 h 10250"/>
              <a:gd name="connsiteX5" fmla="*/ 10000 w 10000"/>
              <a:gd name="connsiteY5" fmla="*/ 324 h 10250"/>
              <a:gd name="connsiteX6" fmla="*/ 10000 w 10000"/>
              <a:gd name="connsiteY6" fmla="*/ 10143 h 10250"/>
              <a:gd name="connsiteX7" fmla="*/ 10000 w 10000"/>
              <a:gd name="connsiteY7" fmla="*/ 10143 h 10250"/>
              <a:gd name="connsiteX8" fmla="*/ 10000 w 10000"/>
              <a:gd name="connsiteY8" fmla="*/ 10190 h 10250"/>
              <a:gd name="connsiteX9" fmla="*/ 10000 w 10000"/>
              <a:gd name="connsiteY9" fmla="*/ 10190 h 10250"/>
              <a:gd name="connsiteX10" fmla="*/ 10000 w 10000"/>
              <a:gd name="connsiteY10" fmla="*/ 10208 h 10250"/>
              <a:gd name="connsiteX11" fmla="*/ 9991 w 10000"/>
              <a:gd name="connsiteY11" fmla="*/ 10222 h 10250"/>
              <a:gd name="connsiteX12" fmla="*/ 9982 w 10000"/>
              <a:gd name="connsiteY12" fmla="*/ 10231 h 10250"/>
              <a:gd name="connsiteX13" fmla="*/ 9959 w 10000"/>
              <a:gd name="connsiteY13" fmla="*/ 10241 h 10250"/>
              <a:gd name="connsiteX14" fmla="*/ 9959 w 10000"/>
              <a:gd name="connsiteY14" fmla="*/ 10241 h 10250"/>
              <a:gd name="connsiteX15" fmla="*/ 9905 w 10000"/>
              <a:gd name="connsiteY15" fmla="*/ 10245 h 10250"/>
              <a:gd name="connsiteX16" fmla="*/ 9847 w 10000"/>
              <a:gd name="connsiteY16" fmla="*/ 10250 h 10250"/>
              <a:gd name="connsiteX17" fmla="*/ 9734 w 10000"/>
              <a:gd name="connsiteY17" fmla="*/ 10250 h 10250"/>
              <a:gd name="connsiteX18" fmla="*/ 7052 w 10000"/>
              <a:gd name="connsiteY18" fmla="*/ 9152 h 10250"/>
              <a:gd name="connsiteX19" fmla="*/ 6805 w 10000"/>
              <a:gd name="connsiteY19" fmla="*/ 8986 h 10250"/>
              <a:gd name="connsiteX20" fmla="*/ 6562 w 10000"/>
              <a:gd name="connsiteY20" fmla="*/ 8814 h 10250"/>
              <a:gd name="connsiteX21" fmla="*/ 6319 w 10000"/>
              <a:gd name="connsiteY21" fmla="*/ 8638 h 10250"/>
              <a:gd name="connsiteX22" fmla="*/ 6085 w 10000"/>
              <a:gd name="connsiteY22" fmla="*/ 8458 h 10250"/>
              <a:gd name="connsiteX23" fmla="*/ 5851 w 10000"/>
              <a:gd name="connsiteY23" fmla="*/ 8272 h 10250"/>
              <a:gd name="connsiteX24" fmla="*/ 5621 w 10000"/>
              <a:gd name="connsiteY24" fmla="*/ 8082 h 10250"/>
              <a:gd name="connsiteX25" fmla="*/ 5392 w 10000"/>
              <a:gd name="connsiteY25" fmla="*/ 7892 h 10250"/>
              <a:gd name="connsiteX26" fmla="*/ 5167 w 10000"/>
              <a:gd name="connsiteY26" fmla="*/ 7693 h 10250"/>
              <a:gd name="connsiteX27" fmla="*/ 5167 w 10000"/>
              <a:gd name="connsiteY27" fmla="*/ 7693 h 10250"/>
              <a:gd name="connsiteX28" fmla="*/ 4905 w 10000"/>
              <a:gd name="connsiteY28" fmla="*/ 7466 h 10250"/>
              <a:gd name="connsiteX29" fmla="*/ 4905 w 10000"/>
              <a:gd name="connsiteY29" fmla="*/ 7466 h 10250"/>
              <a:gd name="connsiteX30" fmla="*/ 4995 w 10000"/>
              <a:gd name="connsiteY30" fmla="*/ 7290 h 10250"/>
              <a:gd name="connsiteX31" fmla="*/ 5077 w 10000"/>
              <a:gd name="connsiteY31" fmla="*/ 7114 h 10250"/>
              <a:gd name="connsiteX32" fmla="*/ 5077 w 10000"/>
              <a:gd name="connsiteY32" fmla="*/ 7114 h 10250"/>
              <a:gd name="connsiteX33" fmla="*/ 5113 w 10000"/>
              <a:gd name="connsiteY33" fmla="*/ 7031 h 10250"/>
              <a:gd name="connsiteX34" fmla="*/ 5144 w 10000"/>
              <a:gd name="connsiteY34" fmla="*/ 6943 h 10250"/>
              <a:gd name="connsiteX35" fmla="*/ 5176 w 10000"/>
              <a:gd name="connsiteY35" fmla="*/ 6855 h 10250"/>
              <a:gd name="connsiteX36" fmla="*/ 5203 w 10000"/>
              <a:gd name="connsiteY36" fmla="*/ 6767 h 10250"/>
              <a:gd name="connsiteX37" fmla="*/ 5225 w 10000"/>
              <a:gd name="connsiteY37" fmla="*/ 6674 h 10250"/>
              <a:gd name="connsiteX38" fmla="*/ 5243 w 10000"/>
              <a:gd name="connsiteY38" fmla="*/ 6586 h 10250"/>
              <a:gd name="connsiteX39" fmla="*/ 5252 w 10000"/>
              <a:gd name="connsiteY39" fmla="*/ 6494 h 10250"/>
              <a:gd name="connsiteX40" fmla="*/ 5261 w 10000"/>
              <a:gd name="connsiteY40" fmla="*/ 6396 h 10250"/>
              <a:gd name="connsiteX41" fmla="*/ 5261 w 10000"/>
              <a:gd name="connsiteY41" fmla="*/ 6396 h 10250"/>
              <a:gd name="connsiteX42" fmla="*/ 5266 w 10000"/>
              <a:gd name="connsiteY42" fmla="*/ 6290 h 10250"/>
              <a:gd name="connsiteX43" fmla="*/ 5257 w 10000"/>
              <a:gd name="connsiteY43" fmla="*/ 6183 h 10250"/>
              <a:gd name="connsiteX44" fmla="*/ 5243 w 10000"/>
              <a:gd name="connsiteY44" fmla="*/ 6081 h 10250"/>
              <a:gd name="connsiteX45" fmla="*/ 5221 w 10000"/>
              <a:gd name="connsiteY45" fmla="*/ 5980 h 10250"/>
              <a:gd name="connsiteX46" fmla="*/ 5189 w 10000"/>
              <a:gd name="connsiteY46" fmla="*/ 5882 h 10250"/>
              <a:gd name="connsiteX47" fmla="*/ 5149 w 10000"/>
              <a:gd name="connsiteY47" fmla="*/ 5785 h 10250"/>
              <a:gd name="connsiteX48" fmla="*/ 5099 w 10000"/>
              <a:gd name="connsiteY48" fmla="*/ 5692 h 10250"/>
              <a:gd name="connsiteX49" fmla="*/ 5045 w 10000"/>
              <a:gd name="connsiteY49" fmla="*/ 5600 h 10250"/>
              <a:gd name="connsiteX50" fmla="*/ 5045 w 10000"/>
              <a:gd name="connsiteY50" fmla="*/ 5600 h 10250"/>
              <a:gd name="connsiteX51" fmla="*/ 4986 w 10000"/>
              <a:gd name="connsiteY51" fmla="*/ 5516 h 10250"/>
              <a:gd name="connsiteX52" fmla="*/ 4923 w 10000"/>
              <a:gd name="connsiteY52" fmla="*/ 5433 h 10250"/>
              <a:gd name="connsiteX53" fmla="*/ 4856 w 10000"/>
              <a:gd name="connsiteY53" fmla="*/ 5359 h 10250"/>
              <a:gd name="connsiteX54" fmla="*/ 4784 w 10000"/>
              <a:gd name="connsiteY54" fmla="*/ 5285 h 10250"/>
              <a:gd name="connsiteX55" fmla="*/ 4707 w 10000"/>
              <a:gd name="connsiteY55" fmla="*/ 5215 h 10250"/>
              <a:gd name="connsiteX56" fmla="*/ 4631 w 10000"/>
              <a:gd name="connsiteY56" fmla="*/ 5150 h 10250"/>
              <a:gd name="connsiteX57" fmla="*/ 4550 w 10000"/>
              <a:gd name="connsiteY57" fmla="*/ 5086 h 10250"/>
              <a:gd name="connsiteX58" fmla="*/ 4469 w 10000"/>
              <a:gd name="connsiteY58" fmla="*/ 5025 h 10250"/>
              <a:gd name="connsiteX59" fmla="*/ 4469 w 10000"/>
              <a:gd name="connsiteY59" fmla="*/ 5025 h 10250"/>
              <a:gd name="connsiteX60" fmla="*/ 4347 w 10000"/>
              <a:gd name="connsiteY60" fmla="*/ 4937 h 10250"/>
              <a:gd name="connsiteX61" fmla="*/ 4226 w 10000"/>
              <a:gd name="connsiteY61" fmla="*/ 4859 h 10250"/>
              <a:gd name="connsiteX62" fmla="*/ 4104 w 10000"/>
              <a:gd name="connsiteY62" fmla="*/ 4780 h 10250"/>
              <a:gd name="connsiteX63" fmla="*/ 3978 w 10000"/>
              <a:gd name="connsiteY63" fmla="*/ 4706 h 10250"/>
              <a:gd name="connsiteX64" fmla="*/ 3852 w 10000"/>
              <a:gd name="connsiteY64" fmla="*/ 4636 h 10250"/>
              <a:gd name="connsiteX65" fmla="*/ 3722 w 10000"/>
              <a:gd name="connsiteY65" fmla="*/ 4567 h 10250"/>
              <a:gd name="connsiteX66" fmla="*/ 3591 w 10000"/>
              <a:gd name="connsiteY66" fmla="*/ 4502 h 10250"/>
              <a:gd name="connsiteX67" fmla="*/ 3461 w 10000"/>
              <a:gd name="connsiteY67" fmla="*/ 4437 h 10250"/>
              <a:gd name="connsiteX68" fmla="*/ 3461 w 10000"/>
              <a:gd name="connsiteY68" fmla="*/ 4437 h 10250"/>
              <a:gd name="connsiteX69" fmla="*/ 3029 w 10000"/>
              <a:gd name="connsiteY69" fmla="*/ 4243 h 10250"/>
              <a:gd name="connsiteX70" fmla="*/ 2601 w 10000"/>
              <a:gd name="connsiteY70" fmla="*/ 4048 h 10250"/>
              <a:gd name="connsiteX71" fmla="*/ 1742 w 10000"/>
              <a:gd name="connsiteY71" fmla="*/ 3664 h 10250"/>
              <a:gd name="connsiteX72" fmla="*/ 1742 w 10000"/>
              <a:gd name="connsiteY72" fmla="*/ 3664 h 10250"/>
              <a:gd name="connsiteX73" fmla="*/ 1598 w 10000"/>
              <a:gd name="connsiteY73" fmla="*/ 3599 h 10250"/>
              <a:gd name="connsiteX74" fmla="*/ 1454 w 10000"/>
              <a:gd name="connsiteY74" fmla="*/ 3529 h 10250"/>
              <a:gd name="connsiteX75" fmla="*/ 1314 w 10000"/>
              <a:gd name="connsiteY75" fmla="*/ 3455 h 10250"/>
              <a:gd name="connsiteX76" fmla="*/ 1179 w 10000"/>
              <a:gd name="connsiteY76" fmla="*/ 3376 h 10250"/>
              <a:gd name="connsiteX77" fmla="*/ 1049 w 10000"/>
              <a:gd name="connsiteY77" fmla="*/ 3288 h 10250"/>
              <a:gd name="connsiteX78" fmla="*/ 923 w 10000"/>
              <a:gd name="connsiteY78" fmla="*/ 3196 h 10250"/>
              <a:gd name="connsiteX79" fmla="*/ 797 w 10000"/>
              <a:gd name="connsiteY79" fmla="*/ 3099 h 10250"/>
              <a:gd name="connsiteX80" fmla="*/ 680 w 10000"/>
              <a:gd name="connsiteY80" fmla="*/ 2992 h 10250"/>
              <a:gd name="connsiteX81" fmla="*/ 680 w 10000"/>
              <a:gd name="connsiteY81" fmla="*/ 2992 h 10250"/>
              <a:gd name="connsiteX82" fmla="*/ 590 w 10000"/>
              <a:gd name="connsiteY82" fmla="*/ 2899 h 10250"/>
              <a:gd name="connsiteX83" fmla="*/ 504 w 10000"/>
              <a:gd name="connsiteY83" fmla="*/ 2807 h 10250"/>
              <a:gd name="connsiteX84" fmla="*/ 423 w 10000"/>
              <a:gd name="connsiteY84" fmla="*/ 2709 h 10250"/>
              <a:gd name="connsiteX85" fmla="*/ 356 w 10000"/>
              <a:gd name="connsiteY85" fmla="*/ 2612 h 10250"/>
              <a:gd name="connsiteX86" fmla="*/ 288 w 10000"/>
              <a:gd name="connsiteY86" fmla="*/ 2510 h 10250"/>
              <a:gd name="connsiteX87" fmla="*/ 230 w 10000"/>
              <a:gd name="connsiteY87" fmla="*/ 2404 h 10250"/>
              <a:gd name="connsiteX88" fmla="*/ 180 w 10000"/>
              <a:gd name="connsiteY88" fmla="*/ 2297 h 10250"/>
              <a:gd name="connsiteX89" fmla="*/ 131 w 10000"/>
              <a:gd name="connsiteY89" fmla="*/ 2191 h 10250"/>
              <a:gd name="connsiteX90" fmla="*/ 95 w 10000"/>
              <a:gd name="connsiteY90" fmla="*/ 2080 h 10250"/>
              <a:gd name="connsiteX91" fmla="*/ 63 w 10000"/>
              <a:gd name="connsiteY91" fmla="*/ 1964 h 10250"/>
              <a:gd name="connsiteX92" fmla="*/ 36 w 10000"/>
              <a:gd name="connsiteY92" fmla="*/ 1843 h 10250"/>
              <a:gd name="connsiteX93" fmla="*/ 18 w 10000"/>
              <a:gd name="connsiteY93" fmla="*/ 1723 h 10250"/>
              <a:gd name="connsiteX94" fmla="*/ 5 w 10000"/>
              <a:gd name="connsiteY94" fmla="*/ 1602 h 10250"/>
              <a:gd name="connsiteX95" fmla="*/ 0 w 10000"/>
              <a:gd name="connsiteY95" fmla="*/ 1477 h 10250"/>
              <a:gd name="connsiteX96" fmla="*/ 0 w 10000"/>
              <a:gd name="connsiteY96" fmla="*/ 1348 h 10250"/>
              <a:gd name="connsiteX97" fmla="*/ 9 w 10000"/>
              <a:gd name="connsiteY97" fmla="*/ 1218 h 10250"/>
              <a:gd name="connsiteX98" fmla="*/ 9 w 10000"/>
              <a:gd name="connsiteY98" fmla="*/ 1218 h 10250"/>
              <a:gd name="connsiteX99" fmla="*/ 23 w 10000"/>
              <a:gd name="connsiteY99" fmla="*/ 1098 h 10250"/>
              <a:gd name="connsiteX100" fmla="*/ 41 w 10000"/>
              <a:gd name="connsiteY100" fmla="*/ 977 h 10250"/>
              <a:gd name="connsiteX101" fmla="*/ 68 w 10000"/>
              <a:gd name="connsiteY101" fmla="*/ 857 h 10250"/>
              <a:gd name="connsiteX102" fmla="*/ 95 w 10000"/>
              <a:gd name="connsiteY102" fmla="*/ 741 h 10250"/>
              <a:gd name="connsiteX103" fmla="*/ 131 w 10000"/>
              <a:gd name="connsiteY103" fmla="*/ 625 h 10250"/>
              <a:gd name="connsiteX104" fmla="*/ 171 w 10000"/>
              <a:gd name="connsiteY104" fmla="*/ 509 h 10250"/>
              <a:gd name="connsiteX105" fmla="*/ 212 w 10000"/>
              <a:gd name="connsiteY105" fmla="*/ 398 h 10250"/>
              <a:gd name="connsiteX106" fmla="*/ 266 w 10000"/>
              <a:gd name="connsiteY106" fmla="*/ 287 h 10250"/>
              <a:gd name="connsiteX107" fmla="*/ 266 w 10000"/>
              <a:gd name="connsiteY107" fmla="*/ 287 h 10250"/>
              <a:gd name="connsiteX108" fmla="*/ 275 w 10000"/>
              <a:gd name="connsiteY108" fmla="*/ 250 h 10250"/>
              <a:gd name="connsiteX109" fmla="*/ 275 w 10000"/>
              <a:gd name="connsiteY109" fmla="*/ 250 h 10250"/>
              <a:gd name="connsiteX0" fmla="*/ 275 w 10487"/>
              <a:gd name="connsiteY0" fmla="*/ 250 h 10250"/>
              <a:gd name="connsiteX1" fmla="*/ 275 w 10487"/>
              <a:gd name="connsiteY1" fmla="*/ 250 h 10250"/>
              <a:gd name="connsiteX2" fmla="*/ 10000 w 10487"/>
              <a:gd name="connsiteY2" fmla="*/ 250 h 10250"/>
              <a:gd name="connsiteX3" fmla="*/ 9594 w 10487"/>
              <a:gd name="connsiteY3" fmla="*/ 0 h 10250"/>
              <a:gd name="connsiteX4" fmla="*/ 10000 w 10487"/>
              <a:gd name="connsiteY4" fmla="*/ 324 h 10250"/>
              <a:gd name="connsiteX5" fmla="*/ 10000 w 10487"/>
              <a:gd name="connsiteY5" fmla="*/ 324 h 10250"/>
              <a:gd name="connsiteX6" fmla="*/ 10000 w 10487"/>
              <a:gd name="connsiteY6" fmla="*/ 10143 h 10250"/>
              <a:gd name="connsiteX7" fmla="*/ 10000 w 10487"/>
              <a:gd name="connsiteY7" fmla="*/ 10143 h 10250"/>
              <a:gd name="connsiteX8" fmla="*/ 10000 w 10487"/>
              <a:gd name="connsiteY8" fmla="*/ 10190 h 10250"/>
              <a:gd name="connsiteX9" fmla="*/ 10000 w 10487"/>
              <a:gd name="connsiteY9" fmla="*/ 10190 h 10250"/>
              <a:gd name="connsiteX10" fmla="*/ 10000 w 10487"/>
              <a:gd name="connsiteY10" fmla="*/ 10208 h 10250"/>
              <a:gd name="connsiteX11" fmla="*/ 9991 w 10487"/>
              <a:gd name="connsiteY11" fmla="*/ 10222 h 10250"/>
              <a:gd name="connsiteX12" fmla="*/ 9982 w 10487"/>
              <a:gd name="connsiteY12" fmla="*/ 10231 h 10250"/>
              <a:gd name="connsiteX13" fmla="*/ 9959 w 10487"/>
              <a:gd name="connsiteY13" fmla="*/ 10241 h 10250"/>
              <a:gd name="connsiteX14" fmla="*/ 9959 w 10487"/>
              <a:gd name="connsiteY14" fmla="*/ 10241 h 10250"/>
              <a:gd name="connsiteX15" fmla="*/ 9905 w 10487"/>
              <a:gd name="connsiteY15" fmla="*/ 10245 h 10250"/>
              <a:gd name="connsiteX16" fmla="*/ 9847 w 10487"/>
              <a:gd name="connsiteY16" fmla="*/ 10250 h 10250"/>
              <a:gd name="connsiteX17" fmla="*/ 9734 w 10487"/>
              <a:gd name="connsiteY17" fmla="*/ 10250 h 10250"/>
              <a:gd name="connsiteX18" fmla="*/ 7052 w 10487"/>
              <a:gd name="connsiteY18" fmla="*/ 9152 h 10250"/>
              <a:gd name="connsiteX19" fmla="*/ 6805 w 10487"/>
              <a:gd name="connsiteY19" fmla="*/ 8986 h 10250"/>
              <a:gd name="connsiteX20" fmla="*/ 6562 w 10487"/>
              <a:gd name="connsiteY20" fmla="*/ 8814 h 10250"/>
              <a:gd name="connsiteX21" fmla="*/ 6319 w 10487"/>
              <a:gd name="connsiteY21" fmla="*/ 8638 h 10250"/>
              <a:gd name="connsiteX22" fmla="*/ 6085 w 10487"/>
              <a:gd name="connsiteY22" fmla="*/ 8458 h 10250"/>
              <a:gd name="connsiteX23" fmla="*/ 5851 w 10487"/>
              <a:gd name="connsiteY23" fmla="*/ 8272 h 10250"/>
              <a:gd name="connsiteX24" fmla="*/ 5621 w 10487"/>
              <a:gd name="connsiteY24" fmla="*/ 8082 h 10250"/>
              <a:gd name="connsiteX25" fmla="*/ 5392 w 10487"/>
              <a:gd name="connsiteY25" fmla="*/ 7892 h 10250"/>
              <a:gd name="connsiteX26" fmla="*/ 5167 w 10487"/>
              <a:gd name="connsiteY26" fmla="*/ 7693 h 10250"/>
              <a:gd name="connsiteX27" fmla="*/ 5167 w 10487"/>
              <a:gd name="connsiteY27" fmla="*/ 7693 h 10250"/>
              <a:gd name="connsiteX28" fmla="*/ 4905 w 10487"/>
              <a:gd name="connsiteY28" fmla="*/ 7466 h 10250"/>
              <a:gd name="connsiteX29" fmla="*/ 4905 w 10487"/>
              <a:gd name="connsiteY29" fmla="*/ 7466 h 10250"/>
              <a:gd name="connsiteX30" fmla="*/ 4995 w 10487"/>
              <a:gd name="connsiteY30" fmla="*/ 7290 h 10250"/>
              <a:gd name="connsiteX31" fmla="*/ 5077 w 10487"/>
              <a:gd name="connsiteY31" fmla="*/ 7114 h 10250"/>
              <a:gd name="connsiteX32" fmla="*/ 5077 w 10487"/>
              <a:gd name="connsiteY32" fmla="*/ 7114 h 10250"/>
              <a:gd name="connsiteX33" fmla="*/ 5113 w 10487"/>
              <a:gd name="connsiteY33" fmla="*/ 7031 h 10250"/>
              <a:gd name="connsiteX34" fmla="*/ 5144 w 10487"/>
              <a:gd name="connsiteY34" fmla="*/ 6943 h 10250"/>
              <a:gd name="connsiteX35" fmla="*/ 5176 w 10487"/>
              <a:gd name="connsiteY35" fmla="*/ 6855 h 10250"/>
              <a:gd name="connsiteX36" fmla="*/ 5203 w 10487"/>
              <a:gd name="connsiteY36" fmla="*/ 6767 h 10250"/>
              <a:gd name="connsiteX37" fmla="*/ 5225 w 10487"/>
              <a:gd name="connsiteY37" fmla="*/ 6674 h 10250"/>
              <a:gd name="connsiteX38" fmla="*/ 5243 w 10487"/>
              <a:gd name="connsiteY38" fmla="*/ 6586 h 10250"/>
              <a:gd name="connsiteX39" fmla="*/ 5252 w 10487"/>
              <a:gd name="connsiteY39" fmla="*/ 6494 h 10250"/>
              <a:gd name="connsiteX40" fmla="*/ 5261 w 10487"/>
              <a:gd name="connsiteY40" fmla="*/ 6396 h 10250"/>
              <a:gd name="connsiteX41" fmla="*/ 5261 w 10487"/>
              <a:gd name="connsiteY41" fmla="*/ 6396 h 10250"/>
              <a:gd name="connsiteX42" fmla="*/ 5266 w 10487"/>
              <a:gd name="connsiteY42" fmla="*/ 6290 h 10250"/>
              <a:gd name="connsiteX43" fmla="*/ 5257 w 10487"/>
              <a:gd name="connsiteY43" fmla="*/ 6183 h 10250"/>
              <a:gd name="connsiteX44" fmla="*/ 5243 w 10487"/>
              <a:gd name="connsiteY44" fmla="*/ 6081 h 10250"/>
              <a:gd name="connsiteX45" fmla="*/ 5221 w 10487"/>
              <a:gd name="connsiteY45" fmla="*/ 5980 h 10250"/>
              <a:gd name="connsiteX46" fmla="*/ 5189 w 10487"/>
              <a:gd name="connsiteY46" fmla="*/ 5882 h 10250"/>
              <a:gd name="connsiteX47" fmla="*/ 5149 w 10487"/>
              <a:gd name="connsiteY47" fmla="*/ 5785 h 10250"/>
              <a:gd name="connsiteX48" fmla="*/ 5099 w 10487"/>
              <a:gd name="connsiteY48" fmla="*/ 5692 h 10250"/>
              <a:gd name="connsiteX49" fmla="*/ 5045 w 10487"/>
              <a:gd name="connsiteY49" fmla="*/ 5600 h 10250"/>
              <a:gd name="connsiteX50" fmla="*/ 5045 w 10487"/>
              <a:gd name="connsiteY50" fmla="*/ 5600 h 10250"/>
              <a:gd name="connsiteX51" fmla="*/ 4986 w 10487"/>
              <a:gd name="connsiteY51" fmla="*/ 5516 h 10250"/>
              <a:gd name="connsiteX52" fmla="*/ 4923 w 10487"/>
              <a:gd name="connsiteY52" fmla="*/ 5433 h 10250"/>
              <a:gd name="connsiteX53" fmla="*/ 4856 w 10487"/>
              <a:gd name="connsiteY53" fmla="*/ 5359 h 10250"/>
              <a:gd name="connsiteX54" fmla="*/ 4784 w 10487"/>
              <a:gd name="connsiteY54" fmla="*/ 5285 h 10250"/>
              <a:gd name="connsiteX55" fmla="*/ 4707 w 10487"/>
              <a:gd name="connsiteY55" fmla="*/ 5215 h 10250"/>
              <a:gd name="connsiteX56" fmla="*/ 4631 w 10487"/>
              <a:gd name="connsiteY56" fmla="*/ 5150 h 10250"/>
              <a:gd name="connsiteX57" fmla="*/ 4550 w 10487"/>
              <a:gd name="connsiteY57" fmla="*/ 5086 h 10250"/>
              <a:gd name="connsiteX58" fmla="*/ 4469 w 10487"/>
              <a:gd name="connsiteY58" fmla="*/ 5025 h 10250"/>
              <a:gd name="connsiteX59" fmla="*/ 4469 w 10487"/>
              <a:gd name="connsiteY59" fmla="*/ 5025 h 10250"/>
              <a:gd name="connsiteX60" fmla="*/ 4347 w 10487"/>
              <a:gd name="connsiteY60" fmla="*/ 4937 h 10250"/>
              <a:gd name="connsiteX61" fmla="*/ 4226 w 10487"/>
              <a:gd name="connsiteY61" fmla="*/ 4859 h 10250"/>
              <a:gd name="connsiteX62" fmla="*/ 4104 w 10487"/>
              <a:gd name="connsiteY62" fmla="*/ 4780 h 10250"/>
              <a:gd name="connsiteX63" fmla="*/ 3978 w 10487"/>
              <a:gd name="connsiteY63" fmla="*/ 4706 h 10250"/>
              <a:gd name="connsiteX64" fmla="*/ 3852 w 10487"/>
              <a:gd name="connsiteY64" fmla="*/ 4636 h 10250"/>
              <a:gd name="connsiteX65" fmla="*/ 3722 w 10487"/>
              <a:gd name="connsiteY65" fmla="*/ 4567 h 10250"/>
              <a:gd name="connsiteX66" fmla="*/ 3591 w 10487"/>
              <a:gd name="connsiteY66" fmla="*/ 4502 h 10250"/>
              <a:gd name="connsiteX67" fmla="*/ 3461 w 10487"/>
              <a:gd name="connsiteY67" fmla="*/ 4437 h 10250"/>
              <a:gd name="connsiteX68" fmla="*/ 3461 w 10487"/>
              <a:gd name="connsiteY68" fmla="*/ 4437 h 10250"/>
              <a:gd name="connsiteX69" fmla="*/ 3029 w 10487"/>
              <a:gd name="connsiteY69" fmla="*/ 4243 h 10250"/>
              <a:gd name="connsiteX70" fmla="*/ 2601 w 10487"/>
              <a:gd name="connsiteY70" fmla="*/ 4048 h 10250"/>
              <a:gd name="connsiteX71" fmla="*/ 1742 w 10487"/>
              <a:gd name="connsiteY71" fmla="*/ 3664 h 10250"/>
              <a:gd name="connsiteX72" fmla="*/ 1742 w 10487"/>
              <a:gd name="connsiteY72" fmla="*/ 3664 h 10250"/>
              <a:gd name="connsiteX73" fmla="*/ 1598 w 10487"/>
              <a:gd name="connsiteY73" fmla="*/ 3599 h 10250"/>
              <a:gd name="connsiteX74" fmla="*/ 1454 w 10487"/>
              <a:gd name="connsiteY74" fmla="*/ 3529 h 10250"/>
              <a:gd name="connsiteX75" fmla="*/ 1314 w 10487"/>
              <a:gd name="connsiteY75" fmla="*/ 3455 h 10250"/>
              <a:gd name="connsiteX76" fmla="*/ 1179 w 10487"/>
              <a:gd name="connsiteY76" fmla="*/ 3376 h 10250"/>
              <a:gd name="connsiteX77" fmla="*/ 1049 w 10487"/>
              <a:gd name="connsiteY77" fmla="*/ 3288 h 10250"/>
              <a:gd name="connsiteX78" fmla="*/ 923 w 10487"/>
              <a:gd name="connsiteY78" fmla="*/ 3196 h 10250"/>
              <a:gd name="connsiteX79" fmla="*/ 797 w 10487"/>
              <a:gd name="connsiteY79" fmla="*/ 3099 h 10250"/>
              <a:gd name="connsiteX80" fmla="*/ 680 w 10487"/>
              <a:gd name="connsiteY80" fmla="*/ 2992 h 10250"/>
              <a:gd name="connsiteX81" fmla="*/ 680 w 10487"/>
              <a:gd name="connsiteY81" fmla="*/ 2992 h 10250"/>
              <a:gd name="connsiteX82" fmla="*/ 590 w 10487"/>
              <a:gd name="connsiteY82" fmla="*/ 2899 h 10250"/>
              <a:gd name="connsiteX83" fmla="*/ 504 w 10487"/>
              <a:gd name="connsiteY83" fmla="*/ 2807 h 10250"/>
              <a:gd name="connsiteX84" fmla="*/ 423 w 10487"/>
              <a:gd name="connsiteY84" fmla="*/ 2709 h 10250"/>
              <a:gd name="connsiteX85" fmla="*/ 356 w 10487"/>
              <a:gd name="connsiteY85" fmla="*/ 2612 h 10250"/>
              <a:gd name="connsiteX86" fmla="*/ 288 w 10487"/>
              <a:gd name="connsiteY86" fmla="*/ 2510 h 10250"/>
              <a:gd name="connsiteX87" fmla="*/ 230 w 10487"/>
              <a:gd name="connsiteY87" fmla="*/ 2404 h 10250"/>
              <a:gd name="connsiteX88" fmla="*/ 180 w 10487"/>
              <a:gd name="connsiteY88" fmla="*/ 2297 h 10250"/>
              <a:gd name="connsiteX89" fmla="*/ 131 w 10487"/>
              <a:gd name="connsiteY89" fmla="*/ 2191 h 10250"/>
              <a:gd name="connsiteX90" fmla="*/ 95 w 10487"/>
              <a:gd name="connsiteY90" fmla="*/ 2080 h 10250"/>
              <a:gd name="connsiteX91" fmla="*/ 63 w 10487"/>
              <a:gd name="connsiteY91" fmla="*/ 1964 h 10250"/>
              <a:gd name="connsiteX92" fmla="*/ 36 w 10487"/>
              <a:gd name="connsiteY92" fmla="*/ 1843 h 10250"/>
              <a:gd name="connsiteX93" fmla="*/ 18 w 10487"/>
              <a:gd name="connsiteY93" fmla="*/ 1723 h 10250"/>
              <a:gd name="connsiteX94" fmla="*/ 5 w 10487"/>
              <a:gd name="connsiteY94" fmla="*/ 1602 h 10250"/>
              <a:gd name="connsiteX95" fmla="*/ 0 w 10487"/>
              <a:gd name="connsiteY95" fmla="*/ 1477 h 10250"/>
              <a:gd name="connsiteX96" fmla="*/ 0 w 10487"/>
              <a:gd name="connsiteY96" fmla="*/ 1348 h 10250"/>
              <a:gd name="connsiteX97" fmla="*/ 9 w 10487"/>
              <a:gd name="connsiteY97" fmla="*/ 1218 h 10250"/>
              <a:gd name="connsiteX98" fmla="*/ 9 w 10487"/>
              <a:gd name="connsiteY98" fmla="*/ 1218 h 10250"/>
              <a:gd name="connsiteX99" fmla="*/ 23 w 10487"/>
              <a:gd name="connsiteY99" fmla="*/ 1098 h 10250"/>
              <a:gd name="connsiteX100" fmla="*/ 41 w 10487"/>
              <a:gd name="connsiteY100" fmla="*/ 977 h 10250"/>
              <a:gd name="connsiteX101" fmla="*/ 68 w 10487"/>
              <a:gd name="connsiteY101" fmla="*/ 857 h 10250"/>
              <a:gd name="connsiteX102" fmla="*/ 95 w 10487"/>
              <a:gd name="connsiteY102" fmla="*/ 741 h 10250"/>
              <a:gd name="connsiteX103" fmla="*/ 131 w 10487"/>
              <a:gd name="connsiteY103" fmla="*/ 625 h 10250"/>
              <a:gd name="connsiteX104" fmla="*/ 171 w 10487"/>
              <a:gd name="connsiteY104" fmla="*/ 509 h 10250"/>
              <a:gd name="connsiteX105" fmla="*/ 212 w 10487"/>
              <a:gd name="connsiteY105" fmla="*/ 398 h 10250"/>
              <a:gd name="connsiteX106" fmla="*/ 266 w 10487"/>
              <a:gd name="connsiteY106" fmla="*/ 287 h 10250"/>
              <a:gd name="connsiteX107" fmla="*/ 266 w 10487"/>
              <a:gd name="connsiteY107" fmla="*/ 287 h 10250"/>
              <a:gd name="connsiteX108" fmla="*/ 275 w 10487"/>
              <a:gd name="connsiteY108" fmla="*/ 250 h 10250"/>
              <a:gd name="connsiteX109" fmla="*/ 275 w 10487"/>
              <a:gd name="connsiteY109" fmla="*/ 250 h 10250"/>
              <a:gd name="connsiteX0" fmla="*/ 275 w 11621"/>
              <a:gd name="connsiteY0" fmla="*/ 0 h 10000"/>
              <a:gd name="connsiteX1" fmla="*/ 275 w 11621"/>
              <a:gd name="connsiteY1" fmla="*/ 0 h 10000"/>
              <a:gd name="connsiteX2" fmla="*/ 10000 w 11621"/>
              <a:gd name="connsiteY2" fmla="*/ 0 h 10000"/>
              <a:gd name="connsiteX3" fmla="*/ 10000 w 11621"/>
              <a:gd name="connsiteY3" fmla="*/ 74 h 10000"/>
              <a:gd name="connsiteX4" fmla="*/ 10000 w 11621"/>
              <a:gd name="connsiteY4" fmla="*/ 74 h 10000"/>
              <a:gd name="connsiteX5" fmla="*/ 10000 w 11621"/>
              <a:gd name="connsiteY5" fmla="*/ 9893 h 10000"/>
              <a:gd name="connsiteX6" fmla="*/ 10000 w 11621"/>
              <a:gd name="connsiteY6" fmla="*/ 9893 h 10000"/>
              <a:gd name="connsiteX7" fmla="*/ 10000 w 11621"/>
              <a:gd name="connsiteY7" fmla="*/ 9940 h 10000"/>
              <a:gd name="connsiteX8" fmla="*/ 10000 w 11621"/>
              <a:gd name="connsiteY8" fmla="*/ 9940 h 10000"/>
              <a:gd name="connsiteX9" fmla="*/ 10000 w 11621"/>
              <a:gd name="connsiteY9" fmla="*/ 9958 h 10000"/>
              <a:gd name="connsiteX10" fmla="*/ 9991 w 11621"/>
              <a:gd name="connsiteY10" fmla="*/ 9972 h 10000"/>
              <a:gd name="connsiteX11" fmla="*/ 9982 w 11621"/>
              <a:gd name="connsiteY11" fmla="*/ 9981 h 10000"/>
              <a:gd name="connsiteX12" fmla="*/ 9959 w 11621"/>
              <a:gd name="connsiteY12" fmla="*/ 9991 h 10000"/>
              <a:gd name="connsiteX13" fmla="*/ 9959 w 11621"/>
              <a:gd name="connsiteY13" fmla="*/ 9991 h 10000"/>
              <a:gd name="connsiteX14" fmla="*/ 9905 w 11621"/>
              <a:gd name="connsiteY14" fmla="*/ 9995 h 10000"/>
              <a:gd name="connsiteX15" fmla="*/ 9847 w 11621"/>
              <a:gd name="connsiteY15" fmla="*/ 10000 h 10000"/>
              <a:gd name="connsiteX16" fmla="*/ 9734 w 11621"/>
              <a:gd name="connsiteY16" fmla="*/ 10000 h 10000"/>
              <a:gd name="connsiteX17" fmla="*/ 7052 w 11621"/>
              <a:gd name="connsiteY17" fmla="*/ 8902 h 10000"/>
              <a:gd name="connsiteX18" fmla="*/ 6805 w 11621"/>
              <a:gd name="connsiteY18" fmla="*/ 8736 h 10000"/>
              <a:gd name="connsiteX19" fmla="*/ 6562 w 11621"/>
              <a:gd name="connsiteY19" fmla="*/ 8564 h 10000"/>
              <a:gd name="connsiteX20" fmla="*/ 6319 w 11621"/>
              <a:gd name="connsiteY20" fmla="*/ 8388 h 10000"/>
              <a:gd name="connsiteX21" fmla="*/ 6085 w 11621"/>
              <a:gd name="connsiteY21" fmla="*/ 8208 h 10000"/>
              <a:gd name="connsiteX22" fmla="*/ 5851 w 11621"/>
              <a:gd name="connsiteY22" fmla="*/ 8022 h 10000"/>
              <a:gd name="connsiteX23" fmla="*/ 5621 w 11621"/>
              <a:gd name="connsiteY23" fmla="*/ 7832 h 10000"/>
              <a:gd name="connsiteX24" fmla="*/ 5392 w 11621"/>
              <a:gd name="connsiteY24" fmla="*/ 7642 h 10000"/>
              <a:gd name="connsiteX25" fmla="*/ 5167 w 11621"/>
              <a:gd name="connsiteY25" fmla="*/ 7443 h 10000"/>
              <a:gd name="connsiteX26" fmla="*/ 5167 w 11621"/>
              <a:gd name="connsiteY26" fmla="*/ 7443 h 10000"/>
              <a:gd name="connsiteX27" fmla="*/ 4905 w 11621"/>
              <a:gd name="connsiteY27" fmla="*/ 7216 h 10000"/>
              <a:gd name="connsiteX28" fmla="*/ 4905 w 11621"/>
              <a:gd name="connsiteY28" fmla="*/ 7216 h 10000"/>
              <a:gd name="connsiteX29" fmla="*/ 4995 w 11621"/>
              <a:gd name="connsiteY29" fmla="*/ 7040 h 10000"/>
              <a:gd name="connsiteX30" fmla="*/ 5077 w 11621"/>
              <a:gd name="connsiteY30" fmla="*/ 6864 h 10000"/>
              <a:gd name="connsiteX31" fmla="*/ 5077 w 11621"/>
              <a:gd name="connsiteY31" fmla="*/ 6864 h 10000"/>
              <a:gd name="connsiteX32" fmla="*/ 5113 w 11621"/>
              <a:gd name="connsiteY32" fmla="*/ 6781 h 10000"/>
              <a:gd name="connsiteX33" fmla="*/ 5144 w 11621"/>
              <a:gd name="connsiteY33" fmla="*/ 6693 h 10000"/>
              <a:gd name="connsiteX34" fmla="*/ 5176 w 11621"/>
              <a:gd name="connsiteY34" fmla="*/ 6605 h 10000"/>
              <a:gd name="connsiteX35" fmla="*/ 5203 w 11621"/>
              <a:gd name="connsiteY35" fmla="*/ 6517 h 10000"/>
              <a:gd name="connsiteX36" fmla="*/ 5225 w 11621"/>
              <a:gd name="connsiteY36" fmla="*/ 6424 h 10000"/>
              <a:gd name="connsiteX37" fmla="*/ 5243 w 11621"/>
              <a:gd name="connsiteY37" fmla="*/ 6336 h 10000"/>
              <a:gd name="connsiteX38" fmla="*/ 5252 w 11621"/>
              <a:gd name="connsiteY38" fmla="*/ 6244 h 10000"/>
              <a:gd name="connsiteX39" fmla="*/ 5261 w 11621"/>
              <a:gd name="connsiteY39" fmla="*/ 6146 h 10000"/>
              <a:gd name="connsiteX40" fmla="*/ 5261 w 11621"/>
              <a:gd name="connsiteY40" fmla="*/ 6146 h 10000"/>
              <a:gd name="connsiteX41" fmla="*/ 5266 w 11621"/>
              <a:gd name="connsiteY41" fmla="*/ 6040 h 10000"/>
              <a:gd name="connsiteX42" fmla="*/ 5257 w 11621"/>
              <a:gd name="connsiteY42" fmla="*/ 5933 h 10000"/>
              <a:gd name="connsiteX43" fmla="*/ 5243 w 11621"/>
              <a:gd name="connsiteY43" fmla="*/ 5831 h 10000"/>
              <a:gd name="connsiteX44" fmla="*/ 5221 w 11621"/>
              <a:gd name="connsiteY44" fmla="*/ 5730 h 10000"/>
              <a:gd name="connsiteX45" fmla="*/ 5189 w 11621"/>
              <a:gd name="connsiteY45" fmla="*/ 5632 h 10000"/>
              <a:gd name="connsiteX46" fmla="*/ 5149 w 11621"/>
              <a:gd name="connsiteY46" fmla="*/ 5535 h 10000"/>
              <a:gd name="connsiteX47" fmla="*/ 5099 w 11621"/>
              <a:gd name="connsiteY47" fmla="*/ 5442 h 10000"/>
              <a:gd name="connsiteX48" fmla="*/ 5045 w 11621"/>
              <a:gd name="connsiteY48" fmla="*/ 5350 h 10000"/>
              <a:gd name="connsiteX49" fmla="*/ 5045 w 11621"/>
              <a:gd name="connsiteY49" fmla="*/ 5350 h 10000"/>
              <a:gd name="connsiteX50" fmla="*/ 4986 w 11621"/>
              <a:gd name="connsiteY50" fmla="*/ 5266 h 10000"/>
              <a:gd name="connsiteX51" fmla="*/ 4923 w 11621"/>
              <a:gd name="connsiteY51" fmla="*/ 5183 h 10000"/>
              <a:gd name="connsiteX52" fmla="*/ 4856 w 11621"/>
              <a:gd name="connsiteY52" fmla="*/ 5109 h 10000"/>
              <a:gd name="connsiteX53" fmla="*/ 4784 w 11621"/>
              <a:gd name="connsiteY53" fmla="*/ 5035 h 10000"/>
              <a:gd name="connsiteX54" fmla="*/ 4707 w 11621"/>
              <a:gd name="connsiteY54" fmla="*/ 4965 h 10000"/>
              <a:gd name="connsiteX55" fmla="*/ 4631 w 11621"/>
              <a:gd name="connsiteY55" fmla="*/ 4900 h 10000"/>
              <a:gd name="connsiteX56" fmla="*/ 4550 w 11621"/>
              <a:gd name="connsiteY56" fmla="*/ 4836 h 10000"/>
              <a:gd name="connsiteX57" fmla="*/ 4469 w 11621"/>
              <a:gd name="connsiteY57" fmla="*/ 4775 h 10000"/>
              <a:gd name="connsiteX58" fmla="*/ 4469 w 11621"/>
              <a:gd name="connsiteY58" fmla="*/ 4775 h 10000"/>
              <a:gd name="connsiteX59" fmla="*/ 4347 w 11621"/>
              <a:gd name="connsiteY59" fmla="*/ 4687 h 10000"/>
              <a:gd name="connsiteX60" fmla="*/ 4226 w 11621"/>
              <a:gd name="connsiteY60" fmla="*/ 4609 h 10000"/>
              <a:gd name="connsiteX61" fmla="*/ 4104 w 11621"/>
              <a:gd name="connsiteY61" fmla="*/ 4530 h 10000"/>
              <a:gd name="connsiteX62" fmla="*/ 3978 w 11621"/>
              <a:gd name="connsiteY62" fmla="*/ 4456 h 10000"/>
              <a:gd name="connsiteX63" fmla="*/ 3852 w 11621"/>
              <a:gd name="connsiteY63" fmla="*/ 4386 h 10000"/>
              <a:gd name="connsiteX64" fmla="*/ 3722 w 11621"/>
              <a:gd name="connsiteY64" fmla="*/ 4317 h 10000"/>
              <a:gd name="connsiteX65" fmla="*/ 3591 w 11621"/>
              <a:gd name="connsiteY65" fmla="*/ 4252 h 10000"/>
              <a:gd name="connsiteX66" fmla="*/ 3461 w 11621"/>
              <a:gd name="connsiteY66" fmla="*/ 4187 h 10000"/>
              <a:gd name="connsiteX67" fmla="*/ 3461 w 11621"/>
              <a:gd name="connsiteY67" fmla="*/ 4187 h 10000"/>
              <a:gd name="connsiteX68" fmla="*/ 3029 w 11621"/>
              <a:gd name="connsiteY68" fmla="*/ 3993 h 10000"/>
              <a:gd name="connsiteX69" fmla="*/ 2601 w 11621"/>
              <a:gd name="connsiteY69" fmla="*/ 3798 h 10000"/>
              <a:gd name="connsiteX70" fmla="*/ 1742 w 11621"/>
              <a:gd name="connsiteY70" fmla="*/ 3414 h 10000"/>
              <a:gd name="connsiteX71" fmla="*/ 1742 w 11621"/>
              <a:gd name="connsiteY71" fmla="*/ 3414 h 10000"/>
              <a:gd name="connsiteX72" fmla="*/ 1598 w 11621"/>
              <a:gd name="connsiteY72" fmla="*/ 3349 h 10000"/>
              <a:gd name="connsiteX73" fmla="*/ 1454 w 11621"/>
              <a:gd name="connsiteY73" fmla="*/ 3279 h 10000"/>
              <a:gd name="connsiteX74" fmla="*/ 1314 w 11621"/>
              <a:gd name="connsiteY74" fmla="*/ 3205 h 10000"/>
              <a:gd name="connsiteX75" fmla="*/ 1179 w 11621"/>
              <a:gd name="connsiteY75" fmla="*/ 3126 h 10000"/>
              <a:gd name="connsiteX76" fmla="*/ 1049 w 11621"/>
              <a:gd name="connsiteY76" fmla="*/ 3038 h 10000"/>
              <a:gd name="connsiteX77" fmla="*/ 923 w 11621"/>
              <a:gd name="connsiteY77" fmla="*/ 2946 h 10000"/>
              <a:gd name="connsiteX78" fmla="*/ 797 w 11621"/>
              <a:gd name="connsiteY78" fmla="*/ 2849 h 10000"/>
              <a:gd name="connsiteX79" fmla="*/ 680 w 11621"/>
              <a:gd name="connsiteY79" fmla="*/ 2742 h 10000"/>
              <a:gd name="connsiteX80" fmla="*/ 680 w 11621"/>
              <a:gd name="connsiteY80" fmla="*/ 2742 h 10000"/>
              <a:gd name="connsiteX81" fmla="*/ 590 w 11621"/>
              <a:gd name="connsiteY81" fmla="*/ 2649 h 10000"/>
              <a:gd name="connsiteX82" fmla="*/ 504 w 11621"/>
              <a:gd name="connsiteY82" fmla="*/ 2557 h 10000"/>
              <a:gd name="connsiteX83" fmla="*/ 423 w 11621"/>
              <a:gd name="connsiteY83" fmla="*/ 2459 h 10000"/>
              <a:gd name="connsiteX84" fmla="*/ 356 w 11621"/>
              <a:gd name="connsiteY84" fmla="*/ 2362 h 10000"/>
              <a:gd name="connsiteX85" fmla="*/ 288 w 11621"/>
              <a:gd name="connsiteY85" fmla="*/ 2260 h 10000"/>
              <a:gd name="connsiteX86" fmla="*/ 230 w 11621"/>
              <a:gd name="connsiteY86" fmla="*/ 2154 h 10000"/>
              <a:gd name="connsiteX87" fmla="*/ 180 w 11621"/>
              <a:gd name="connsiteY87" fmla="*/ 2047 h 10000"/>
              <a:gd name="connsiteX88" fmla="*/ 131 w 11621"/>
              <a:gd name="connsiteY88" fmla="*/ 1941 h 10000"/>
              <a:gd name="connsiteX89" fmla="*/ 95 w 11621"/>
              <a:gd name="connsiteY89" fmla="*/ 1830 h 10000"/>
              <a:gd name="connsiteX90" fmla="*/ 63 w 11621"/>
              <a:gd name="connsiteY90" fmla="*/ 1714 h 10000"/>
              <a:gd name="connsiteX91" fmla="*/ 36 w 11621"/>
              <a:gd name="connsiteY91" fmla="*/ 1593 h 10000"/>
              <a:gd name="connsiteX92" fmla="*/ 18 w 11621"/>
              <a:gd name="connsiteY92" fmla="*/ 1473 h 10000"/>
              <a:gd name="connsiteX93" fmla="*/ 5 w 11621"/>
              <a:gd name="connsiteY93" fmla="*/ 1352 h 10000"/>
              <a:gd name="connsiteX94" fmla="*/ 0 w 11621"/>
              <a:gd name="connsiteY94" fmla="*/ 1227 h 10000"/>
              <a:gd name="connsiteX95" fmla="*/ 0 w 11621"/>
              <a:gd name="connsiteY95" fmla="*/ 1098 h 10000"/>
              <a:gd name="connsiteX96" fmla="*/ 9 w 11621"/>
              <a:gd name="connsiteY96" fmla="*/ 968 h 10000"/>
              <a:gd name="connsiteX97" fmla="*/ 9 w 11621"/>
              <a:gd name="connsiteY97" fmla="*/ 968 h 10000"/>
              <a:gd name="connsiteX98" fmla="*/ 23 w 11621"/>
              <a:gd name="connsiteY98" fmla="*/ 848 h 10000"/>
              <a:gd name="connsiteX99" fmla="*/ 41 w 11621"/>
              <a:gd name="connsiteY99" fmla="*/ 727 h 10000"/>
              <a:gd name="connsiteX100" fmla="*/ 68 w 11621"/>
              <a:gd name="connsiteY100" fmla="*/ 607 h 10000"/>
              <a:gd name="connsiteX101" fmla="*/ 95 w 11621"/>
              <a:gd name="connsiteY101" fmla="*/ 491 h 10000"/>
              <a:gd name="connsiteX102" fmla="*/ 131 w 11621"/>
              <a:gd name="connsiteY102" fmla="*/ 375 h 10000"/>
              <a:gd name="connsiteX103" fmla="*/ 171 w 11621"/>
              <a:gd name="connsiteY103" fmla="*/ 259 h 10000"/>
              <a:gd name="connsiteX104" fmla="*/ 212 w 11621"/>
              <a:gd name="connsiteY104" fmla="*/ 148 h 10000"/>
              <a:gd name="connsiteX105" fmla="*/ 266 w 11621"/>
              <a:gd name="connsiteY105" fmla="*/ 37 h 10000"/>
              <a:gd name="connsiteX106" fmla="*/ 266 w 11621"/>
              <a:gd name="connsiteY106" fmla="*/ 37 h 10000"/>
              <a:gd name="connsiteX107" fmla="*/ 275 w 11621"/>
              <a:gd name="connsiteY107" fmla="*/ 0 h 10000"/>
              <a:gd name="connsiteX108" fmla="*/ 275 w 11621"/>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74 h 10000"/>
              <a:gd name="connsiteX5" fmla="*/ 10000 w 10000"/>
              <a:gd name="connsiteY5" fmla="*/ 9893 h 10000"/>
              <a:gd name="connsiteX6" fmla="*/ 10000 w 10000"/>
              <a:gd name="connsiteY6" fmla="*/ 9893 h 10000"/>
              <a:gd name="connsiteX7" fmla="*/ 10000 w 10000"/>
              <a:gd name="connsiteY7" fmla="*/ 9940 h 10000"/>
              <a:gd name="connsiteX8" fmla="*/ 10000 w 10000"/>
              <a:gd name="connsiteY8" fmla="*/ 9940 h 10000"/>
              <a:gd name="connsiteX9" fmla="*/ 10000 w 10000"/>
              <a:gd name="connsiteY9" fmla="*/ 9958 h 10000"/>
              <a:gd name="connsiteX10" fmla="*/ 9991 w 10000"/>
              <a:gd name="connsiteY10" fmla="*/ 9972 h 10000"/>
              <a:gd name="connsiteX11" fmla="*/ 9982 w 10000"/>
              <a:gd name="connsiteY11" fmla="*/ 9981 h 10000"/>
              <a:gd name="connsiteX12" fmla="*/ 9959 w 10000"/>
              <a:gd name="connsiteY12" fmla="*/ 9991 h 10000"/>
              <a:gd name="connsiteX13" fmla="*/ 9959 w 10000"/>
              <a:gd name="connsiteY13" fmla="*/ 9991 h 10000"/>
              <a:gd name="connsiteX14" fmla="*/ 9905 w 10000"/>
              <a:gd name="connsiteY14" fmla="*/ 9995 h 10000"/>
              <a:gd name="connsiteX15" fmla="*/ 9847 w 10000"/>
              <a:gd name="connsiteY15" fmla="*/ 10000 h 10000"/>
              <a:gd name="connsiteX16" fmla="*/ 9734 w 10000"/>
              <a:gd name="connsiteY16" fmla="*/ 10000 h 10000"/>
              <a:gd name="connsiteX17" fmla="*/ 7052 w 10000"/>
              <a:gd name="connsiteY17" fmla="*/ 8902 h 10000"/>
              <a:gd name="connsiteX18" fmla="*/ 6805 w 10000"/>
              <a:gd name="connsiteY18" fmla="*/ 8736 h 10000"/>
              <a:gd name="connsiteX19" fmla="*/ 6562 w 10000"/>
              <a:gd name="connsiteY19" fmla="*/ 8564 h 10000"/>
              <a:gd name="connsiteX20" fmla="*/ 6319 w 10000"/>
              <a:gd name="connsiteY20" fmla="*/ 8388 h 10000"/>
              <a:gd name="connsiteX21" fmla="*/ 6085 w 10000"/>
              <a:gd name="connsiteY21" fmla="*/ 8208 h 10000"/>
              <a:gd name="connsiteX22" fmla="*/ 5851 w 10000"/>
              <a:gd name="connsiteY22" fmla="*/ 8022 h 10000"/>
              <a:gd name="connsiteX23" fmla="*/ 5621 w 10000"/>
              <a:gd name="connsiteY23" fmla="*/ 7832 h 10000"/>
              <a:gd name="connsiteX24" fmla="*/ 5392 w 10000"/>
              <a:gd name="connsiteY24" fmla="*/ 7642 h 10000"/>
              <a:gd name="connsiteX25" fmla="*/ 5167 w 10000"/>
              <a:gd name="connsiteY25" fmla="*/ 7443 h 10000"/>
              <a:gd name="connsiteX26" fmla="*/ 5167 w 10000"/>
              <a:gd name="connsiteY26" fmla="*/ 7443 h 10000"/>
              <a:gd name="connsiteX27" fmla="*/ 4905 w 10000"/>
              <a:gd name="connsiteY27" fmla="*/ 7216 h 10000"/>
              <a:gd name="connsiteX28" fmla="*/ 4905 w 10000"/>
              <a:gd name="connsiteY28" fmla="*/ 7216 h 10000"/>
              <a:gd name="connsiteX29" fmla="*/ 4995 w 10000"/>
              <a:gd name="connsiteY29" fmla="*/ 7040 h 10000"/>
              <a:gd name="connsiteX30" fmla="*/ 5077 w 10000"/>
              <a:gd name="connsiteY30" fmla="*/ 6864 h 10000"/>
              <a:gd name="connsiteX31" fmla="*/ 5077 w 10000"/>
              <a:gd name="connsiteY31" fmla="*/ 6864 h 10000"/>
              <a:gd name="connsiteX32" fmla="*/ 5113 w 10000"/>
              <a:gd name="connsiteY32" fmla="*/ 6781 h 10000"/>
              <a:gd name="connsiteX33" fmla="*/ 5144 w 10000"/>
              <a:gd name="connsiteY33" fmla="*/ 6693 h 10000"/>
              <a:gd name="connsiteX34" fmla="*/ 5176 w 10000"/>
              <a:gd name="connsiteY34" fmla="*/ 6605 h 10000"/>
              <a:gd name="connsiteX35" fmla="*/ 5203 w 10000"/>
              <a:gd name="connsiteY35" fmla="*/ 6517 h 10000"/>
              <a:gd name="connsiteX36" fmla="*/ 5225 w 10000"/>
              <a:gd name="connsiteY36" fmla="*/ 6424 h 10000"/>
              <a:gd name="connsiteX37" fmla="*/ 5243 w 10000"/>
              <a:gd name="connsiteY37" fmla="*/ 6336 h 10000"/>
              <a:gd name="connsiteX38" fmla="*/ 5252 w 10000"/>
              <a:gd name="connsiteY38" fmla="*/ 6244 h 10000"/>
              <a:gd name="connsiteX39" fmla="*/ 5261 w 10000"/>
              <a:gd name="connsiteY39" fmla="*/ 6146 h 10000"/>
              <a:gd name="connsiteX40" fmla="*/ 5261 w 10000"/>
              <a:gd name="connsiteY40" fmla="*/ 6146 h 10000"/>
              <a:gd name="connsiteX41" fmla="*/ 5266 w 10000"/>
              <a:gd name="connsiteY41" fmla="*/ 6040 h 10000"/>
              <a:gd name="connsiteX42" fmla="*/ 5257 w 10000"/>
              <a:gd name="connsiteY42" fmla="*/ 5933 h 10000"/>
              <a:gd name="connsiteX43" fmla="*/ 5243 w 10000"/>
              <a:gd name="connsiteY43" fmla="*/ 5831 h 10000"/>
              <a:gd name="connsiteX44" fmla="*/ 5221 w 10000"/>
              <a:gd name="connsiteY44" fmla="*/ 5730 h 10000"/>
              <a:gd name="connsiteX45" fmla="*/ 5189 w 10000"/>
              <a:gd name="connsiteY45" fmla="*/ 5632 h 10000"/>
              <a:gd name="connsiteX46" fmla="*/ 5149 w 10000"/>
              <a:gd name="connsiteY46" fmla="*/ 5535 h 10000"/>
              <a:gd name="connsiteX47" fmla="*/ 5099 w 10000"/>
              <a:gd name="connsiteY47" fmla="*/ 5442 h 10000"/>
              <a:gd name="connsiteX48" fmla="*/ 5045 w 10000"/>
              <a:gd name="connsiteY48" fmla="*/ 5350 h 10000"/>
              <a:gd name="connsiteX49" fmla="*/ 5045 w 10000"/>
              <a:gd name="connsiteY49" fmla="*/ 5350 h 10000"/>
              <a:gd name="connsiteX50" fmla="*/ 4986 w 10000"/>
              <a:gd name="connsiteY50" fmla="*/ 5266 h 10000"/>
              <a:gd name="connsiteX51" fmla="*/ 4923 w 10000"/>
              <a:gd name="connsiteY51" fmla="*/ 5183 h 10000"/>
              <a:gd name="connsiteX52" fmla="*/ 4856 w 10000"/>
              <a:gd name="connsiteY52" fmla="*/ 5109 h 10000"/>
              <a:gd name="connsiteX53" fmla="*/ 4784 w 10000"/>
              <a:gd name="connsiteY53" fmla="*/ 5035 h 10000"/>
              <a:gd name="connsiteX54" fmla="*/ 4707 w 10000"/>
              <a:gd name="connsiteY54" fmla="*/ 4965 h 10000"/>
              <a:gd name="connsiteX55" fmla="*/ 4631 w 10000"/>
              <a:gd name="connsiteY55" fmla="*/ 4900 h 10000"/>
              <a:gd name="connsiteX56" fmla="*/ 4550 w 10000"/>
              <a:gd name="connsiteY56" fmla="*/ 4836 h 10000"/>
              <a:gd name="connsiteX57" fmla="*/ 4469 w 10000"/>
              <a:gd name="connsiteY57" fmla="*/ 4775 h 10000"/>
              <a:gd name="connsiteX58" fmla="*/ 4469 w 10000"/>
              <a:gd name="connsiteY58" fmla="*/ 4775 h 10000"/>
              <a:gd name="connsiteX59" fmla="*/ 4347 w 10000"/>
              <a:gd name="connsiteY59" fmla="*/ 4687 h 10000"/>
              <a:gd name="connsiteX60" fmla="*/ 4226 w 10000"/>
              <a:gd name="connsiteY60" fmla="*/ 4609 h 10000"/>
              <a:gd name="connsiteX61" fmla="*/ 4104 w 10000"/>
              <a:gd name="connsiteY61" fmla="*/ 4530 h 10000"/>
              <a:gd name="connsiteX62" fmla="*/ 3978 w 10000"/>
              <a:gd name="connsiteY62" fmla="*/ 4456 h 10000"/>
              <a:gd name="connsiteX63" fmla="*/ 3852 w 10000"/>
              <a:gd name="connsiteY63" fmla="*/ 4386 h 10000"/>
              <a:gd name="connsiteX64" fmla="*/ 3722 w 10000"/>
              <a:gd name="connsiteY64" fmla="*/ 4317 h 10000"/>
              <a:gd name="connsiteX65" fmla="*/ 3591 w 10000"/>
              <a:gd name="connsiteY65" fmla="*/ 4252 h 10000"/>
              <a:gd name="connsiteX66" fmla="*/ 3461 w 10000"/>
              <a:gd name="connsiteY66" fmla="*/ 4187 h 10000"/>
              <a:gd name="connsiteX67" fmla="*/ 3461 w 10000"/>
              <a:gd name="connsiteY67" fmla="*/ 4187 h 10000"/>
              <a:gd name="connsiteX68" fmla="*/ 3029 w 10000"/>
              <a:gd name="connsiteY68" fmla="*/ 3993 h 10000"/>
              <a:gd name="connsiteX69" fmla="*/ 2601 w 10000"/>
              <a:gd name="connsiteY69" fmla="*/ 3798 h 10000"/>
              <a:gd name="connsiteX70" fmla="*/ 1742 w 10000"/>
              <a:gd name="connsiteY70" fmla="*/ 3414 h 10000"/>
              <a:gd name="connsiteX71" fmla="*/ 1742 w 10000"/>
              <a:gd name="connsiteY71" fmla="*/ 3414 h 10000"/>
              <a:gd name="connsiteX72" fmla="*/ 1598 w 10000"/>
              <a:gd name="connsiteY72" fmla="*/ 3349 h 10000"/>
              <a:gd name="connsiteX73" fmla="*/ 1454 w 10000"/>
              <a:gd name="connsiteY73" fmla="*/ 3279 h 10000"/>
              <a:gd name="connsiteX74" fmla="*/ 1314 w 10000"/>
              <a:gd name="connsiteY74" fmla="*/ 3205 h 10000"/>
              <a:gd name="connsiteX75" fmla="*/ 1179 w 10000"/>
              <a:gd name="connsiteY75" fmla="*/ 3126 h 10000"/>
              <a:gd name="connsiteX76" fmla="*/ 1049 w 10000"/>
              <a:gd name="connsiteY76" fmla="*/ 3038 h 10000"/>
              <a:gd name="connsiteX77" fmla="*/ 923 w 10000"/>
              <a:gd name="connsiteY77" fmla="*/ 2946 h 10000"/>
              <a:gd name="connsiteX78" fmla="*/ 797 w 10000"/>
              <a:gd name="connsiteY78" fmla="*/ 2849 h 10000"/>
              <a:gd name="connsiteX79" fmla="*/ 680 w 10000"/>
              <a:gd name="connsiteY79" fmla="*/ 2742 h 10000"/>
              <a:gd name="connsiteX80" fmla="*/ 680 w 10000"/>
              <a:gd name="connsiteY80" fmla="*/ 2742 h 10000"/>
              <a:gd name="connsiteX81" fmla="*/ 590 w 10000"/>
              <a:gd name="connsiteY81" fmla="*/ 2649 h 10000"/>
              <a:gd name="connsiteX82" fmla="*/ 504 w 10000"/>
              <a:gd name="connsiteY82" fmla="*/ 2557 h 10000"/>
              <a:gd name="connsiteX83" fmla="*/ 423 w 10000"/>
              <a:gd name="connsiteY83" fmla="*/ 2459 h 10000"/>
              <a:gd name="connsiteX84" fmla="*/ 356 w 10000"/>
              <a:gd name="connsiteY84" fmla="*/ 2362 h 10000"/>
              <a:gd name="connsiteX85" fmla="*/ 288 w 10000"/>
              <a:gd name="connsiteY85" fmla="*/ 2260 h 10000"/>
              <a:gd name="connsiteX86" fmla="*/ 230 w 10000"/>
              <a:gd name="connsiteY86" fmla="*/ 2154 h 10000"/>
              <a:gd name="connsiteX87" fmla="*/ 180 w 10000"/>
              <a:gd name="connsiteY87" fmla="*/ 2047 h 10000"/>
              <a:gd name="connsiteX88" fmla="*/ 131 w 10000"/>
              <a:gd name="connsiteY88" fmla="*/ 1941 h 10000"/>
              <a:gd name="connsiteX89" fmla="*/ 95 w 10000"/>
              <a:gd name="connsiteY89" fmla="*/ 1830 h 10000"/>
              <a:gd name="connsiteX90" fmla="*/ 63 w 10000"/>
              <a:gd name="connsiteY90" fmla="*/ 1714 h 10000"/>
              <a:gd name="connsiteX91" fmla="*/ 36 w 10000"/>
              <a:gd name="connsiteY91" fmla="*/ 1593 h 10000"/>
              <a:gd name="connsiteX92" fmla="*/ 18 w 10000"/>
              <a:gd name="connsiteY92" fmla="*/ 1473 h 10000"/>
              <a:gd name="connsiteX93" fmla="*/ 5 w 10000"/>
              <a:gd name="connsiteY93" fmla="*/ 1352 h 10000"/>
              <a:gd name="connsiteX94" fmla="*/ 0 w 10000"/>
              <a:gd name="connsiteY94" fmla="*/ 1227 h 10000"/>
              <a:gd name="connsiteX95" fmla="*/ 0 w 10000"/>
              <a:gd name="connsiteY95" fmla="*/ 1098 h 10000"/>
              <a:gd name="connsiteX96" fmla="*/ 9 w 10000"/>
              <a:gd name="connsiteY96" fmla="*/ 968 h 10000"/>
              <a:gd name="connsiteX97" fmla="*/ 9 w 10000"/>
              <a:gd name="connsiteY97" fmla="*/ 968 h 10000"/>
              <a:gd name="connsiteX98" fmla="*/ 23 w 10000"/>
              <a:gd name="connsiteY98" fmla="*/ 848 h 10000"/>
              <a:gd name="connsiteX99" fmla="*/ 41 w 10000"/>
              <a:gd name="connsiteY99" fmla="*/ 727 h 10000"/>
              <a:gd name="connsiteX100" fmla="*/ 68 w 10000"/>
              <a:gd name="connsiteY100" fmla="*/ 607 h 10000"/>
              <a:gd name="connsiteX101" fmla="*/ 95 w 10000"/>
              <a:gd name="connsiteY101" fmla="*/ 491 h 10000"/>
              <a:gd name="connsiteX102" fmla="*/ 131 w 10000"/>
              <a:gd name="connsiteY102" fmla="*/ 375 h 10000"/>
              <a:gd name="connsiteX103" fmla="*/ 171 w 10000"/>
              <a:gd name="connsiteY103" fmla="*/ 259 h 10000"/>
              <a:gd name="connsiteX104" fmla="*/ 212 w 10000"/>
              <a:gd name="connsiteY104" fmla="*/ 148 h 10000"/>
              <a:gd name="connsiteX105" fmla="*/ 266 w 10000"/>
              <a:gd name="connsiteY105" fmla="*/ 37 h 10000"/>
              <a:gd name="connsiteX106" fmla="*/ 266 w 10000"/>
              <a:gd name="connsiteY106" fmla="*/ 37 h 10000"/>
              <a:gd name="connsiteX107" fmla="*/ 275 w 10000"/>
              <a:gd name="connsiteY107" fmla="*/ 0 h 10000"/>
              <a:gd name="connsiteX108" fmla="*/ 275 w 10000"/>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9893 h 10000"/>
              <a:gd name="connsiteX5" fmla="*/ 10000 w 10000"/>
              <a:gd name="connsiteY5" fmla="*/ 9893 h 10000"/>
              <a:gd name="connsiteX6" fmla="*/ 10000 w 10000"/>
              <a:gd name="connsiteY6" fmla="*/ 9940 h 10000"/>
              <a:gd name="connsiteX7" fmla="*/ 10000 w 10000"/>
              <a:gd name="connsiteY7" fmla="*/ 9940 h 10000"/>
              <a:gd name="connsiteX8" fmla="*/ 10000 w 10000"/>
              <a:gd name="connsiteY8" fmla="*/ 9958 h 10000"/>
              <a:gd name="connsiteX9" fmla="*/ 9991 w 10000"/>
              <a:gd name="connsiteY9" fmla="*/ 9972 h 10000"/>
              <a:gd name="connsiteX10" fmla="*/ 9982 w 10000"/>
              <a:gd name="connsiteY10" fmla="*/ 9981 h 10000"/>
              <a:gd name="connsiteX11" fmla="*/ 9959 w 10000"/>
              <a:gd name="connsiteY11" fmla="*/ 9991 h 10000"/>
              <a:gd name="connsiteX12" fmla="*/ 9959 w 10000"/>
              <a:gd name="connsiteY12" fmla="*/ 9991 h 10000"/>
              <a:gd name="connsiteX13" fmla="*/ 9905 w 10000"/>
              <a:gd name="connsiteY13" fmla="*/ 9995 h 10000"/>
              <a:gd name="connsiteX14" fmla="*/ 9847 w 10000"/>
              <a:gd name="connsiteY14" fmla="*/ 10000 h 10000"/>
              <a:gd name="connsiteX15" fmla="*/ 9734 w 10000"/>
              <a:gd name="connsiteY15" fmla="*/ 10000 h 10000"/>
              <a:gd name="connsiteX16" fmla="*/ 7052 w 10000"/>
              <a:gd name="connsiteY16" fmla="*/ 8902 h 10000"/>
              <a:gd name="connsiteX17" fmla="*/ 6805 w 10000"/>
              <a:gd name="connsiteY17" fmla="*/ 8736 h 10000"/>
              <a:gd name="connsiteX18" fmla="*/ 6562 w 10000"/>
              <a:gd name="connsiteY18" fmla="*/ 8564 h 10000"/>
              <a:gd name="connsiteX19" fmla="*/ 6319 w 10000"/>
              <a:gd name="connsiteY19" fmla="*/ 8388 h 10000"/>
              <a:gd name="connsiteX20" fmla="*/ 6085 w 10000"/>
              <a:gd name="connsiteY20" fmla="*/ 8208 h 10000"/>
              <a:gd name="connsiteX21" fmla="*/ 5851 w 10000"/>
              <a:gd name="connsiteY21" fmla="*/ 8022 h 10000"/>
              <a:gd name="connsiteX22" fmla="*/ 5621 w 10000"/>
              <a:gd name="connsiteY22" fmla="*/ 7832 h 10000"/>
              <a:gd name="connsiteX23" fmla="*/ 5392 w 10000"/>
              <a:gd name="connsiteY23" fmla="*/ 7642 h 10000"/>
              <a:gd name="connsiteX24" fmla="*/ 5167 w 10000"/>
              <a:gd name="connsiteY24" fmla="*/ 7443 h 10000"/>
              <a:gd name="connsiteX25" fmla="*/ 5167 w 10000"/>
              <a:gd name="connsiteY25" fmla="*/ 7443 h 10000"/>
              <a:gd name="connsiteX26" fmla="*/ 4905 w 10000"/>
              <a:gd name="connsiteY26" fmla="*/ 7216 h 10000"/>
              <a:gd name="connsiteX27" fmla="*/ 4905 w 10000"/>
              <a:gd name="connsiteY27" fmla="*/ 7216 h 10000"/>
              <a:gd name="connsiteX28" fmla="*/ 4995 w 10000"/>
              <a:gd name="connsiteY28" fmla="*/ 7040 h 10000"/>
              <a:gd name="connsiteX29" fmla="*/ 5077 w 10000"/>
              <a:gd name="connsiteY29" fmla="*/ 6864 h 10000"/>
              <a:gd name="connsiteX30" fmla="*/ 5077 w 10000"/>
              <a:gd name="connsiteY30" fmla="*/ 6864 h 10000"/>
              <a:gd name="connsiteX31" fmla="*/ 5113 w 10000"/>
              <a:gd name="connsiteY31" fmla="*/ 6781 h 10000"/>
              <a:gd name="connsiteX32" fmla="*/ 5144 w 10000"/>
              <a:gd name="connsiteY32" fmla="*/ 6693 h 10000"/>
              <a:gd name="connsiteX33" fmla="*/ 5176 w 10000"/>
              <a:gd name="connsiteY33" fmla="*/ 6605 h 10000"/>
              <a:gd name="connsiteX34" fmla="*/ 5203 w 10000"/>
              <a:gd name="connsiteY34" fmla="*/ 6517 h 10000"/>
              <a:gd name="connsiteX35" fmla="*/ 5225 w 10000"/>
              <a:gd name="connsiteY35" fmla="*/ 6424 h 10000"/>
              <a:gd name="connsiteX36" fmla="*/ 5243 w 10000"/>
              <a:gd name="connsiteY36" fmla="*/ 6336 h 10000"/>
              <a:gd name="connsiteX37" fmla="*/ 5252 w 10000"/>
              <a:gd name="connsiteY37" fmla="*/ 6244 h 10000"/>
              <a:gd name="connsiteX38" fmla="*/ 5261 w 10000"/>
              <a:gd name="connsiteY38" fmla="*/ 6146 h 10000"/>
              <a:gd name="connsiteX39" fmla="*/ 5261 w 10000"/>
              <a:gd name="connsiteY39" fmla="*/ 6146 h 10000"/>
              <a:gd name="connsiteX40" fmla="*/ 5266 w 10000"/>
              <a:gd name="connsiteY40" fmla="*/ 6040 h 10000"/>
              <a:gd name="connsiteX41" fmla="*/ 5257 w 10000"/>
              <a:gd name="connsiteY41" fmla="*/ 5933 h 10000"/>
              <a:gd name="connsiteX42" fmla="*/ 5243 w 10000"/>
              <a:gd name="connsiteY42" fmla="*/ 5831 h 10000"/>
              <a:gd name="connsiteX43" fmla="*/ 5221 w 10000"/>
              <a:gd name="connsiteY43" fmla="*/ 5730 h 10000"/>
              <a:gd name="connsiteX44" fmla="*/ 5189 w 10000"/>
              <a:gd name="connsiteY44" fmla="*/ 5632 h 10000"/>
              <a:gd name="connsiteX45" fmla="*/ 5149 w 10000"/>
              <a:gd name="connsiteY45" fmla="*/ 5535 h 10000"/>
              <a:gd name="connsiteX46" fmla="*/ 5099 w 10000"/>
              <a:gd name="connsiteY46" fmla="*/ 5442 h 10000"/>
              <a:gd name="connsiteX47" fmla="*/ 5045 w 10000"/>
              <a:gd name="connsiteY47" fmla="*/ 5350 h 10000"/>
              <a:gd name="connsiteX48" fmla="*/ 5045 w 10000"/>
              <a:gd name="connsiteY48" fmla="*/ 5350 h 10000"/>
              <a:gd name="connsiteX49" fmla="*/ 4986 w 10000"/>
              <a:gd name="connsiteY49" fmla="*/ 5266 h 10000"/>
              <a:gd name="connsiteX50" fmla="*/ 4923 w 10000"/>
              <a:gd name="connsiteY50" fmla="*/ 5183 h 10000"/>
              <a:gd name="connsiteX51" fmla="*/ 4856 w 10000"/>
              <a:gd name="connsiteY51" fmla="*/ 5109 h 10000"/>
              <a:gd name="connsiteX52" fmla="*/ 4784 w 10000"/>
              <a:gd name="connsiteY52" fmla="*/ 5035 h 10000"/>
              <a:gd name="connsiteX53" fmla="*/ 4707 w 10000"/>
              <a:gd name="connsiteY53" fmla="*/ 4965 h 10000"/>
              <a:gd name="connsiteX54" fmla="*/ 4631 w 10000"/>
              <a:gd name="connsiteY54" fmla="*/ 4900 h 10000"/>
              <a:gd name="connsiteX55" fmla="*/ 4550 w 10000"/>
              <a:gd name="connsiteY55" fmla="*/ 4836 h 10000"/>
              <a:gd name="connsiteX56" fmla="*/ 4469 w 10000"/>
              <a:gd name="connsiteY56" fmla="*/ 4775 h 10000"/>
              <a:gd name="connsiteX57" fmla="*/ 4469 w 10000"/>
              <a:gd name="connsiteY57" fmla="*/ 4775 h 10000"/>
              <a:gd name="connsiteX58" fmla="*/ 4347 w 10000"/>
              <a:gd name="connsiteY58" fmla="*/ 4687 h 10000"/>
              <a:gd name="connsiteX59" fmla="*/ 4226 w 10000"/>
              <a:gd name="connsiteY59" fmla="*/ 4609 h 10000"/>
              <a:gd name="connsiteX60" fmla="*/ 4104 w 10000"/>
              <a:gd name="connsiteY60" fmla="*/ 4530 h 10000"/>
              <a:gd name="connsiteX61" fmla="*/ 3978 w 10000"/>
              <a:gd name="connsiteY61" fmla="*/ 4456 h 10000"/>
              <a:gd name="connsiteX62" fmla="*/ 3852 w 10000"/>
              <a:gd name="connsiteY62" fmla="*/ 4386 h 10000"/>
              <a:gd name="connsiteX63" fmla="*/ 3722 w 10000"/>
              <a:gd name="connsiteY63" fmla="*/ 4317 h 10000"/>
              <a:gd name="connsiteX64" fmla="*/ 3591 w 10000"/>
              <a:gd name="connsiteY64" fmla="*/ 4252 h 10000"/>
              <a:gd name="connsiteX65" fmla="*/ 3461 w 10000"/>
              <a:gd name="connsiteY65" fmla="*/ 4187 h 10000"/>
              <a:gd name="connsiteX66" fmla="*/ 3461 w 10000"/>
              <a:gd name="connsiteY66" fmla="*/ 4187 h 10000"/>
              <a:gd name="connsiteX67" fmla="*/ 3029 w 10000"/>
              <a:gd name="connsiteY67" fmla="*/ 3993 h 10000"/>
              <a:gd name="connsiteX68" fmla="*/ 2601 w 10000"/>
              <a:gd name="connsiteY68" fmla="*/ 3798 h 10000"/>
              <a:gd name="connsiteX69" fmla="*/ 1742 w 10000"/>
              <a:gd name="connsiteY69" fmla="*/ 3414 h 10000"/>
              <a:gd name="connsiteX70" fmla="*/ 1742 w 10000"/>
              <a:gd name="connsiteY70" fmla="*/ 3414 h 10000"/>
              <a:gd name="connsiteX71" fmla="*/ 1598 w 10000"/>
              <a:gd name="connsiteY71" fmla="*/ 3349 h 10000"/>
              <a:gd name="connsiteX72" fmla="*/ 1454 w 10000"/>
              <a:gd name="connsiteY72" fmla="*/ 3279 h 10000"/>
              <a:gd name="connsiteX73" fmla="*/ 1314 w 10000"/>
              <a:gd name="connsiteY73" fmla="*/ 3205 h 10000"/>
              <a:gd name="connsiteX74" fmla="*/ 1179 w 10000"/>
              <a:gd name="connsiteY74" fmla="*/ 3126 h 10000"/>
              <a:gd name="connsiteX75" fmla="*/ 1049 w 10000"/>
              <a:gd name="connsiteY75" fmla="*/ 3038 h 10000"/>
              <a:gd name="connsiteX76" fmla="*/ 923 w 10000"/>
              <a:gd name="connsiteY76" fmla="*/ 2946 h 10000"/>
              <a:gd name="connsiteX77" fmla="*/ 797 w 10000"/>
              <a:gd name="connsiteY77" fmla="*/ 2849 h 10000"/>
              <a:gd name="connsiteX78" fmla="*/ 680 w 10000"/>
              <a:gd name="connsiteY78" fmla="*/ 2742 h 10000"/>
              <a:gd name="connsiteX79" fmla="*/ 680 w 10000"/>
              <a:gd name="connsiteY79" fmla="*/ 2742 h 10000"/>
              <a:gd name="connsiteX80" fmla="*/ 590 w 10000"/>
              <a:gd name="connsiteY80" fmla="*/ 2649 h 10000"/>
              <a:gd name="connsiteX81" fmla="*/ 504 w 10000"/>
              <a:gd name="connsiteY81" fmla="*/ 2557 h 10000"/>
              <a:gd name="connsiteX82" fmla="*/ 423 w 10000"/>
              <a:gd name="connsiteY82" fmla="*/ 2459 h 10000"/>
              <a:gd name="connsiteX83" fmla="*/ 356 w 10000"/>
              <a:gd name="connsiteY83" fmla="*/ 2362 h 10000"/>
              <a:gd name="connsiteX84" fmla="*/ 288 w 10000"/>
              <a:gd name="connsiteY84" fmla="*/ 2260 h 10000"/>
              <a:gd name="connsiteX85" fmla="*/ 230 w 10000"/>
              <a:gd name="connsiteY85" fmla="*/ 2154 h 10000"/>
              <a:gd name="connsiteX86" fmla="*/ 180 w 10000"/>
              <a:gd name="connsiteY86" fmla="*/ 2047 h 10000"/>
              <a:gd name="connsiteX87" fmla="*/ 131 w 10000"/>
              <a:gd name="connsiteY87" fmla="*/ 1941 h 10000"/>
              <a:gd name="connsiteX88" fmla="*/ 95 w 10000"/>
              <a:gd name="connsiteY88" fmla="*/ 1830 h 10000"/>
              <a:gd name="connsiteX89" fmla="*/ 63 w 10000"/>
              <a:gd name="connsiteY89" fmla="*/ 1714 h 10000"/>
              <a:gd name="connsiteX90" fmla="*/ 36 w 10000"/>
              <a:gd name="connsiteY90" fmla="*/ 1593 h 10000"/>
              <a:gd name="connsiteX91" fmla="*/ 18 w 10000"/>
              <a:gd name="connsiteY91" fmla="*/ 1473 h 10000"/>
              <a:gd name="connsiteX92" fmla="*/ 5 w 10000"/>
              <a:gd name="connsiteY92" fmla="*/ 1352 h 10000"/>
              <a:gd name="connsiteX93" fmla="*/ 0 w 10000"/>
              <a:gd name="connsiteY93" fmla="*/ 1227 h 10000"/>
              <a:gd name="connsiteX94" fmla="*/ 0 w 10000"/>
              <a:gd name="connsiteY94" fmla="*/ 1098 h 10000"/>
              <a:gd name="connsiteX95" fmla="*/ 9 w 10000"/>
              <a:gd name="connsiteY95" fmla="*/ 968 h 10000"/>
              <a:gd name="connsiteX96" fmla="*/ 9 w 10000"/>
              <a:gd name="connsiteY96" fmla="*/ 968 h 10000"/>
              <a:gd name="connsiteX97" fmla="*/ 23 w 10000"/>
              <a:gd name="connsiteY97" fmla="*/ 848 h 10000"/>
              <a:gd name="connsiteX98" fmla="*/ 41 w 10000"/>
              <a:gd name="connsiteY98" fmla="*/ 727 h 10000"/>
              <a:gd name="connsiteX99" fmla="*/ 68 w 10000"/>
              <a:gd name="connsiteY99" fmla="*/ 607 h 10000"/>
              <a:gd name="connsiteX100" fmla="*/ 95 w 10000"/>
              <a:gd name="connsiteY100" fmla="*/ 491 h 10000"/>
              <a:gd name="connsiteX101" fmla="*/ 131 w 10000"/>
              <a:gd name="connsiteY101" fmla="*/ 375 h 10000"/>
              <a:gd name="connsiteX102" fmla="*/ 171 w 10000"/>
              <a:gd name="connsiteY102" fmla="*/ 259 h 10000"/>
              <a:gd name="connsiteX103" fmla="*/ 212 w 10000"/>
              <a:gd name="connsiteY103" fmla="*/ 148 h 10000"/>
              <a:gd name="connsiteX104" fmla="*/ 266 w 10000"/>
              <a:gd name="connsiteY104" fmla="*/ 37 h 10000"/>
              <a:gd name="connsiteX105" fmla="*/ 266 w 10000"/>
              <a:gd name="connsiteY105" fmla="*/ 37 h 10000"/>
              <a:gd name="connsiteX106" fmla="*/ 275 w 10000"/>
              <a:gd name="connsiteY106" fmla="*/ 0 h 10000"/>
              <a:gd name="connsiteX107" fmla="*/ 275 w 10000"/>
              <a:gd name="connsiteY107"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05 w 10000"/>
              <a:gd name="connsiteY11" fmla="*/ 9995 h 10000"/>
              <a:gd name="connsiteX12" fmla="*/ 9847 w 10000"/>
              <a:gd name="connsiteY12" fmla="*/ 10000 h 10000"/>
              <a:gd name="connsiteX13" fmla="*/ 9734 w 10000"/>
              <a:gd name="connsiteY13" fmla="*/ 10000 h 10000"/>
              <a:gd name="connsiteX14" fmla="*/ 7052 w 10000"/>
              <a:gd name="connsiteY14" fmla="*/ 8902 h 10000"/>
              <a:gd name="connsiteX15" fmla="*/ 6805 w 10000"/>
              <a:gd name="connsiteY15" fmla="*/ 8736 h 10000"/>
              <a:gd name="connsiteX16" fmla="*/ 6562 w 10000"/>
              <a:gd name="connsiteY16" fmla="*/ 8564 h 10000"/>
              <a:gd name="connsiteX17" fmla="*/ 6319 w 10000"/>
              <a:gd name="connsiteY17" fmla="*/ 8388 h 10000"/>
              <a:gd name="connsiteX18" fmla="*/ 6085 w 10000"/>
              <a:gd name="connsiteY18" fmla="*/ 8208 h 10000"/>
              <a:gd name="connsiteX19" fmla="*/ 5851 w 10000"/>
              <a:gd name="connsiteY19" fmla="*/ 8022 h 10000"/>
              <a:gd name="connsiteX20" fmla="*/ 5621 w 10000"/>
              <a:gd name="connsiteY20" fmla="*/ 7832 h 10000"/>
              <a:gd name="connsiteX21" fmla="*/ 5392 w 10000"/>
              <a:gd name="connsiteY21" fmla="*/ 7642 h 10000"/>
              <a:gd name="connsiteX22" fmla="*/ 5167 w 10000"/>
              <a:gd name="connsiteY22" fmla="*/ 7443 h 10000"/>
              <a:gd name="connsiteX23" fmla="*/ 5167 w 10000"/>
              <a:gd name="connsiteY23" fmla="*/ 7443 h 10000"/>
              <a:gd name="connsiteX24" fmla="*/ 4905 w 10000"/>
              <a:gd name="connsiteY24" fmla="*/ 7216 h 10000"/>
              <a:gd name="connsiteX25" fmla="*/ 4905 w 10000"/>
              <a:gd name="connsiteY25" fmla="*/ 7216 h 10000"/>
              <a:gd name="connsiteX26" fmla="*/ 4995 w 10000"/>
              <a:gd name="connsiteY26" fmla="*/ 7040 h 10000"/>
              <a:gd name="connsiteX27" fmla="*/ 5077 w 10000"/>
              <a:gd name="connsiteY27" fmla="*/ 6864 h 10000"/>
              <a:gd name="connsiteX28" fmla="*/ 5077 w 10000"/>
              <a:gd name="connsiteY28" fmla="*/ 6864 h 10000"/>
              <a:gd name="connsiteX29" fmla="*/ 5113 w 10000"/>
              <a:gd name="connsiteY29" fmla="*/ 6781 h 10000"/>
              <a:gd name="connsiteX30" fmla="*/ 5144 w 10000"/>
              <a:gd name="connsiteY30" fmla="*/ 6693 h 10000"/>
              <a:gd name="connsiteX31" fmla="*/ 5176 w 10000"/>
              <a:gd name="connsiteY31" fmla="*/ 6605 h 10000"/>
              <a:gd name="connsiteX32" fmla="*/ 5203 w 10000"/>
              <a:gd name="connsiteY32" fmla="*/ 6517 h 10000"/>
              <a:gd name="connsiteX33" fmla="*/ 5225 w 10000"/>
              <a:gd name="connsiteY33" fmla="*/ 6424 h 10000"/>
              <a:gd name="connsiteX34" fmla="*/ 5243 w 10000"/>
              <a:gd name="connsiteY34" fmla="*/ 6336 h 10000"/>
              <a:gd name="connsiteX35" fmla="*/ 5252 w 10000"/>
              <a:gd name="connsiteY35" fmla="*/ 6244 h 10000"/>
              <a:gd name="connsiteX36" fmla="*/ 5261 w 10000"/>
              <a:gd name="connsiteY36" fmla="*/ 6146 h 10000"/>
              <a:gd name="connsiteX37" fmla="*/ 5261 w 10000"/>
              <a:gd name="connsiteY37" fmla="*/ 6146 h 10000"/>
              <a:gd name="connsiteX38" fmla="*/ 5266 w 10000"/>
              <a:gd name="connsiteY38" fmla="*/ 6040 h 10000"/>
              <a:gd name="connsiteX39" fmla="*/ 5257 w 10000"/>
              <a:gd name="connsiteY39" fmla="*/ 5933 h 10000"/>
              <a:gd name="connsiteX40" fmla="*/ 5243 w 10000"/>
              <a:gd name="connsiteY40" fmla="*/ 5831 h 10000"/>
              <a:gd name="connsiteX41" fmla="*/ 5221 w 10000"/>
              <a:gd name="connsiteY41" fmla="*/ 5730 h 10000"/>
              <a:gd name="connsiteX42" fmla="*/ 5189 w 10000"/>
              <a:gd name="connsiteY42" fmla="*/ 5632 h 10000"/>
              <a:gd name="connsiteX43" fmla="*/ 5149 w 10000"/>
              <a:gd name="connsiteY43" fmla="*/ 5535 h 10000"/>
              <a:gd name="connsiteX44" fmla="*/ 5099 w 10000"/>
              <a:gd name="connsiteY44" fmla="*/ 5442 h 10000"/>
              <a:gd name="connsiteX45" fmla="*/ 5045 w 10000"/>
              <a:gd name="connsiteY45" fmla="*/ 5350 h 10000"/>
              <a:gd name="connsiteX46" fmla="*/ 5045 w 10000"/>
              <a:gd name="connsiteY46" fmla="*/ 5350 h 10000"/>
              <a:gd name="connsiteX47" fmla="*/ 4986 w 10000"/>
              <a:gd name="connsiteY47" fmla="*/ 5266 h 10000"/>
              <a:gd name="connsiteX48" fmla="*/ 4923 w 10000"/>
              <a:gd name="connsiteY48" fmla="*/ 5183 h 10000"/>
              <a:gd name="connsiteX49" fmla="*/ 4856 w 10000"/>
              <a:gd name="connsiteY49" fmla="*/ 5109 h 10000"/>
              <a:gd name="connsiteX50" fmla="*/ 4784 w 10000"/>
              <a:gd name="connsiteY50" fmla="*/ 5035 h 10000"/>
              <a:gd name="connsiteX51" fmla="*/ 4707 w 10000"/>
              <a:gd name="connsiteY51" fmla="*/ 4965 h 10000"/>
              <a:gd name="connsiteX52" fmla="*/ 4631 w 10000"/>
              <a:gd name="connsiteY52" fmla="*/ 4900 h 10000"/>
              <a:gd name="connsiteX53" fmla="*/ 4550 w 10000"/>
              <a:gd name="connsiteY53" fmla="*/ 4836 h 10000"/>
              <a:gd name="connsiteX54" fmla="*/ 4469 w 10000"/>
              <a:gd name="connsiteY54" fmla="*/ 4775 h 10000"/>
              <a:gd name="connsiteX55" fmla="*/ 4469 w 10000"/>
              <a:gd name="connsiteY55" fmla="*/ 4775 h 10000"/>
              <a:gd name="connsiteX56" fmla="*/ 4347 w 10000"/>
              <a:gd name="connsiteY56" fmla="*/ 4687 h 10000"/>
              <a:gd name="connsiteX57" fmla="*/ 4226 w 10000"/>
              <a:gd name="connsiteY57" fmla="*/ 4609 h 10000"/>
              <a:gd name="connsiteX58" fmla="*/ 4104 w 10000"/>
              <a:gd name="connsiteY58" fmla="*/ 4530 h 10000"/>
              <a:gd name="connsiteX59" fmla="*/ 3978 w 10000"/>
              <a:gd name="connsiteY59" fmla="*/ 4456 h 10000"/>
              <a:gd name="connsiteX60" fmla="*/ 3852 w 10000"/>
              <a:gd name="connsiteY60" fmla="*/ 4386 h 10000"/>
              <a:gd name="connsiteX61" fmla="*/ 3722 w 10000"/>
              <a:gd name="connsiteY61" fmla="*/ 4317 h 10000"/>
              <a:gd name="connsiteX62" fmla="*/ 3591 w 10000"/>
              <a:gd name="connsiteY62" fmla="*/ 4252 h 10000"/>
              <a:gd name="connsiteX63" fmla="*/ 3461 w 10000"/>
              <a:gd name="connsiteY63" fmla="*/ 4187 h 10000"/>
              <a:gd name="connsiteX64" fmla="*/ 3461 w 10000"/>
              <a:gd name="connsiteY64" fmla="*/ 4187 h 10000"/>
              <a:gd name="connsiteX65" fmla="*/ 3029 w 10000"/>
              <a:gd name="connsiteY65" fmla="*/ 3993 h 10000"/>
              <a:gd name="connsiteX66" fmla="*/ 2601 w 10000"/>
              <a:gd name="connsiteY66" fmla="*/ 3798 h 10000"/>
              <a:gd name="connsiteX67" fmla="*/ 1742 w 10000"/>
              <a:gd name="connsiteY67" fmla="*/ 3414 h 10000"/>
              <a:gd name="connsiteX68" fmla="*/ 1742 w 10000"/>
              <a:gd name="connsiteY68" fmla="*/ 3414 h 10000"/>
              <a:gd name="connsiteX69" fmla="*/ 1598 w 10000"/>
              <a:gd name="connsiteY69" fmla="*/ 3349 h 10000"/>
              <a:gd name="connsiteX70" fmla="*/ 1454 w 10000"/>
              <a:gd name="connsiteY70" fmla="*/ 3279 h 10000"/>
              <a:gd name="connsiteX71" fmla="*/ 1314 w 10000"/>
              <a:gd name="connsiteY71" fmla="*/ 3205 h 10000"/>
              <a:gd name="connsiteX72" fmla="*/ 1179 w 10000"/>
              <a:gd name="connsiteY72" fmla="*/ 3126 h 10000"/>
              <a:gd name="connsiteX73" fmla="*/ 1049 w 10000"/>
              <a:gd name="connsiteY73" fmla="*/ 3038 h 10000"/>
              <a:gd name="connsiteX74" fmla="*/ 923 w 10000"/>
              <a:gd name="connsiteY74" fmla="*/ 2946 h 10000"/>
              <a:gd name="connsiteX75" fmla="*/ 797 w 10000"/>
              <a:gd name="connsiteY75" fmla="*/ 2849 h 10000"/>
              <a:gd name="connsiteX76" fmla="*/ 680 w 10000"/>
              <a:gd name="connsiteY76" fmla="*/ 2742 h 10000"/>
              <a:gd name="connsiteX77" fmla="*/ 680 w 10000"/>
              <a:gd name="connsiteY77" fmla="*/ 2742 h 10000"/>
              <a:gd name="connsiteX78" fmla="*/ 590 w 10000"/>
              <a:gd name="connsiteY78" fmla="*/ 2649 h 10000"/>
              <a:gd name="connsiteX79" fmla="*/ 504 w 10000"/>
              <a:gd name="connsiteY79" fmla="*/ 2557 h 10000"/>
              <a:gd name="connsiteX80" fmla="*/ 423 w 10000"/>
              <a:gd name="connsiteY80" fmla="*/ 2459 h 10000"/>
              <a:gd name="connsiteX81" fmla="*/ 356 w 10000"/>
              <a:gd name="connsiteY81" fmla="*/ 2362 h 10000"/>
              <a:gd name="connsiteX82" fmla="*/ 288 w 10000"/>
              <a:gd name="connsiteY82" fmla="*/ 2260 h 10000"/>
              <a:gd name="connsiteX83" fmla="*/ 230 w 10000"/>
              <a:gd name="connsiteY83" fmla="*/ 2154 h 10000"/>
              <a:gd name="connsiteX84" fmla="*/ 180 w 10000"/>
              <a:gd name="connsiteY84" fmla="*/ 2047 h 10000"/>
              <a:gd name="connsiteX85" fmla="*/ 131 w 10000"/>
              <a:gd name="connsiteY85" fmla="*/ 1941 h 10000"/>
              <a:gd name="connsiteX86" fmla="*/ 95 w 10000"/>
              <a:gd name="connsiteY86" fmla="*/ 1830 h 10000"/>
              <a:gd name="connsiteX87" fmla="*/ 63 w 10000"/>
              <a:gd name="connsiteY87" fmla="*/ 1714 h 10000"/>
              <a:gd name="connsiteX88" fmla="*/ 36 w 10000"/>
              <a:gd name="connsiteY88" fmla="*/ 1593 h 10000"/>
              <a:gd name="connsiteX89" fmla="*/ 18 w 10000"/>
              <a:gd name="connsiteY89" fmla="*/ 1473 h 10000"/>
              <a:gd name="connsiteX90" fmla="*/ 5 w 10000"/>
              <a:gd name="connsiteY90" fmla="*/ 1352 h 10000"/>
              <a:gd name="connsiteX91" fmla="*/ 0 w 10000"/>
              <a:gd name="connsiteY91" fmla="*/ 1227 h 10000"/>
              <a:gd name="connsiteX92" fmla="*/ 0 w 10000"/>
              <a:gd name="connsiteY92" fmla="*/ 1098 h 10000"/>
              <a:gd name="connsiteX93" fmla="*/ 9 w 10000"/>
              <a:gd name="connsiteY93" fmla="*/ 968 h 10000"/>
              <a:gd name="connsiteX94" fmla="*/ 9 w 10000"/>
              <a:gd name="connsiteY94" fmla="*/ 968 h 10000"/>
              <a:gd name="connsiteX95" fmla="*/ 23 w 10000"/>
              <a:gd name="connsiteY95" fmla="*/ 848 h 10000"/>
              <a:gd name="connsiteX96" fmla="*/ 41 w 10000"/>
              <a:gd name="connsiteY96" fmla="*/ 727 h 10000"/>
              <a:gd name="connsiteX97" fmla="*/ 68 w 10000"/>
              <a:gd name="connsiteY97" fmla="*/ 607 h 10000"/>
              <a:gd name="connsiteX98" fmla="*/ 95 w 10000"/>
              <a:gd name="connsiteY98" fmla="*/ 491 h 10000"/>
              <a:gd name="connsiteX99" fmla="*/ 131 w 10000"/>
              <a:gd name="connsiteY99" fmla="*/ 375 h 10000"/>
              <a:gd name="connsiteX100" fmla="*/ 171 w 10000"/>
              <a:gd name="connsiteY100" fmla="*/ 259 h 10000"/>
              <a:gd name="connsiteX101" fmla="*/ 212 w 10000"/>
              <a:gd name="connsiteY101" fmla="*/ 148 h 10000"/>
              <a:gd name="connsiteX102" fmla="*/ 266 w 10000"/>
              <a:gd name="connsiteY102" fmla="*/ 37 h 10000"/>
              <a:gd name="connsiteX103" fmla="*/ 266 w 10000"/>
              <a:gd name="connsiteY103" fmla="*/ 37 h 10000"/>
              <a:gd name="connsiteX104" fmla="*/ 275 w 10000"/>
              <a:gd name="connsiteY104" fmla="*/ 0 h 10000"/>
              <a:gd name="connsiteX105" fmla="*/ 275 w 10000"/>
              <a:gd name="connsiteY105"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847 w 10000"/>
              <a:gd name="connsiteY11" fmla="*/ 10000 h 10000"/>
              <a:gd name="connsiteX12" fmla="*/ 9734 w 10000"/>
              <a:gd name="connsiteY12" fmla="*/ 10000 h 10000"/>
              <a:gd name="connsiteX13" fmla="*/ 7052 w 10000"/>
              <a:gd name="connsiteY13" fmla="*/ 8902 h 10000"/>
              <a:gd name="connsiteX14" fmla="*/ 6805 w 10000"/>
              <a:gd name="connsiteY14" fmla="*/ 8736 h 10000"/>
              <a:gd name="connsiteX15" fmla="*/ 6562 w 10000"/>
              <a:gd name="connsiteY15" fmla="*/ 8564 h 10000"/>
              <a:gd name="connsiteX16" fmla="*/ 6319 w 10000"/>
              <a:gd name="connsiteY16" fmla="*/ 8388 h 10000"/>
              <a:gd name="connsiteX17" fmla="*/ 6085 w 10000"/>
              <a:gd name="connsiteY17" fmla="*/ 8208 h 10000"/>
              <a:gd name="connsiteX18" fmla="*/ 5851 w 10000"/>
              <a:gd name="connsiteY18" fmla="*/ 8022 h 10000"/>
              <a:gd name="connsiteX19" fmla="*/ 5621 w 10000"/>
              <a:gd name="connsiteY19" fmla="*/ 7832 h 10000"/>
              <a:gd name="connsiteX20" fmla="*/ 5392 w 10000"/>
              <a:gd name="connsiteY20" fmla="*/ 7642 h 10000"/>
              <a:gd name="connsiteX21" fmla="*/ 5167 w 10000"/>
              <a:gd name="connsiteY21" fmla="*/ 7443 h 10000"/>
              <a:gd name="connsiteX22" fmla="*/ 5167 w 10000"/>
              <a:gd name="connsiteY22" fmla="*/ 7443 h 10000"/>
              <a:gd name="connsiteX23" fmla="*/ 4905 w 10000"/>
              <a:gd name="connsiteY23" fmla="*/ 7216 h 10000"/>
              <a:gd name="connsiteX24" fmla="*/ 4905 w 10000"/>
              <a:gd name="connsiteY24" fmla="*/ 7216 h 10000"/>
              <a:gd name="connsiteX25" fmla="*/ 4995 w 10000"/>
              <a:gd name="connsiteY25" fmla="*/ 7040 h 10000"/>
              <a:gd name="connsiteX26" fmla="*/ 5077 w 10000"/>
              <a:gd name="connsiteY26" fmla="*/ 6864 h 10000"/>
              <a:gd name="connsiteX27" fmla="*/ 5077 w 10000"/>
              <a:gd name="connsiteY27" fmla="*/ 6864 h 10000"/>
              <a:gd name="connsiteX28" fmla="*/ 5113 w 10000"/>
              <a:gd name="connsiteY28" fmla="*/ 6781 h 10000"/>
              <a:gd name="connsiteX29" fmla="*/ 5144 w 10000"/>
              <a:gd name="connsiteY29" fmla="*/ 6693 h 10000"/>
              <a:gd name="connsiteX30" fmla="*/ 5176 w 10000"/>
              <a:gd name="connsiteY30" fmla="*/ 6605 h 10000"/>
              <a:gd name="connsiteX31" fmla="*/ 5203 w 10000"/>
              <a:gd name="connsiteY31" fmla="*/ 6517 h 10000"/>
              <a:gd name="connsiteX32" fmla="*/ 5225 w 10000"/>
              <a:gd name="connsiteY32" fmla="*/ 6424 h 10000"/>
              <a:gd name="connsiteX33" fmla="*/ 5243 w 10000"/>
              <a:gd name="connsiteY33" fmla="*/ 6336 h 10000"/>
              <a:gd name="connsiteX34" fmla="*/ 5252 w 10000"/>
              <a:gd name="connsiteY34" fmla="*/ 6244 h 10000"/>
              <a:gd name="connsiteX35" fmla="*/ 5261 w 10000"/>
              <a:gd name="connsiteY35" fmla="*/ 6146 h 10000"/>
              <a:gd name="connsiteX36" fmla="*/ 5261 w 10000"/>
              <a:gd name="connsiteY36" fmla="*/ 6146 h 10000"/>
              <a:gd name="connsiteX37" fmla="*/ 5266 w 10000"/>
              <a:gd name="connsiteY37" fmla="*/ 6040 h 10000"/>
              <a:gd name="connsiteX38" fmla="*/ 5257 w 10000"/>
              <a:gd name="connsiteY38" fmla="*/ 5933 h 10000"/>
              <a:gd name="connsiteX39" fmla="*/ 5243 w 10000"/>
              <a:gd name="connsiteY39" fmla="*/ 5831 h 10000"/>
              <a:gd name="connsiteX40" fmla="*/ 5221 w 10000"/>
              <a:gd name="connsiteY40" fmla="*/ 5730 h 10000"/>
              <a:gd name="connsiteX41" fmla="*/ 5189 w 10000"/>
              <a:gd name="connsiteY41" fmla="*/ 5632 h 10000"/>
              <a:gd name="connsiteX42" fmla="*/ 5149 w 10000"/>
              <a:gd name="connsiteY42" fmla="*/ 5535 h 10000"/>
              <a:gd name="connsiteX43" fmla="*/ 5099 w 10000"/>
              <a:gd name="connsiteY43" fmla="*/ 5442 h 10000"/>
              <a:gd name="connsiteX44" fmla="*/ 5045 w 10000"/>
              <a:gd name="connsiteY44" fmla="*/ 5350 h 10000"/>
              <a:gd name="connsiteX45" fmla="*/ 5045 w 10000"/>
              <a:gd name="connsiteY45" fmla="*/ 5350 h 10000"/>
              <a:gd name="connsiteX46" fmla="*/ 4986 w 10000"/>
              <a:gd name="connsiteY46" fmla="*/ 5266 h 10000"/>
              <a:gd name="connsiteX47" fmla="*/ 4923 w 10000"/>
              <a:gd name="connsiteY47" fmla="*/ 5183 h 10000"/>
              <a:gd name="connsiteX48" fmla="*/ 4856 w 10000"/>
              <a:gd name="connsiteY48" fmla="*/ 5109 h 10000"/>
              <a:gd name="connsiteX49" fmla="*/ 4784 w 10000"/>
              <a:gd name="connsiteY49" fmla="*/ 5035 h 10000"/>
              <a:gd name="connsiteX50" fmla="*/ 4707 w 10000"/>
              <a:gd name="connsiteY50" fmla="*/ 4965 h 10000"/>
              <a:gd name="connsiteX51" fmla="*/ 4631 w 10000"/>
              <a:gd name="connsiteY51" fmla="*/ 4900 h 10000"/>
              <a:gd name="connsiteX52" fmla="*/ 4550 w 10000"/>
              <a:gd name="connsiteY52" fmla="*/ 4836 h 10000"/>
              <a:gd name="connsiteX53" fmla="*/ 4469 w 10000"/>
              <a:gd name="connsiteY53" fmla="*/ 4775 h 10000"/>
              <a:gd name="connsiteX54" fmla="*/ 4469 w 10000"/>
              <a:gd name="connsiteY54" fmla="*/ 4775 h 10000"/>
              <a:gd name="connsiteX55" fmla="*/ 4347 w 10000"/>
              <a:gd name="connsiteY55" fmla="*/ 4687 h 10000"/>
              <a:gd name="connsiteX56" fmla="*/ 4226 w 10000"/>
              <a:gd name="connsiteY56" fmla="*/ 4609 h 10000"/>
              <a:gd name="connsiteX57" fmla="*/ 4104 w 10000"/>
              <a:gd name="connsiteY57" fmla="*/ 4530 h 10000"/>
              <a:gd name="connsiteX58" fmla="*/ 3978 w 10000"/>
              <a:gd name="connsiteY58" fmla="*/ 4456 h 10000"/>
              <a:gd name="connsiteX59" fmla="*/ 3852 w 10000"/>
              <a:gd name="connsiteY59" fmla="*/ 4386 h 10000"/>
              <a:gd name="connsiteX60" fmla="*/ 3722 w 10000"/>
              <a:gd name="connsiteY60" fmla="*/ 4317 h 10000"/>
              <a:gd name="connsiteX61" fmla="*/ 3591 w 10000"/>
              <a:gd name="connsiteY61" fmla="*/ 4252 h 10000"/>
              <a:gd name="connsiteX62" fmla="*/ 3461 w 10000"/>
              <a:gd name="connsiteY62" fmla="*/ 4187 h 10000"/>
              <a:gd name="connsiteX63" fmla="*/ 3461 w 10000"/>
              <a:gd name="connsiteY63" fmla="*/ 4187 h 10000"/>
              <a:gd name="connsiteX64" fmla="*/ 3029 w 10000"/>
              <a:gd name="connsiteY64" fmla="*/ 3993 h 10000"/>
              <a:gd name="connsiteX65" fmla="*/ 2601 w 10000"/>
              <a:gd name="connsiteY65" fmla="*/ 3798 h 10000"/>
              <a:gd name="connsiteX66" fmla="*/ 1742 w 10000"/>
              <a:gd name="connsiteY66" fmla="*/ 3414 h 10000"/>
              <a:gd name="connsiteX67" fmla="*/ 1742 w 10000"/>
              <a:gd name="connsiteY67" fmla="*/ 3414 h 10000"/>
              <a:gd name="connsiteX68" fmla="*/ 1598 w 10000"/>
              <a:gd name="connsiteY68" fmla="*/ 3349 h 10000"/>
              <a:gd name="connsiteX69" fmla="*/ 1454 w 10000"/>
              <a:gd name="connsiteY69" fmla="*/ 3279 h 10000"/>
              <a:gd name="connsiteX70" fmla="*/ 1314 w 10000"/>
              <a:gd name="connsiteY70" fmla="*/ 3205 h 10000"/>
              <a:gd name="connsiteX71" fmla="*/ 1179 w 10000"/>
              <a:gd name="connsiteY71" fmla="*/ 3126 h 10000"/>
              <a:gd name="connsiteX72" fmla="*/ 1049 w 10000"/>
              <a:gd name="connsiteY72" fmla="*/ 3038 h 10000"/>
              <a:gd name="connsiteX73" fmla="*/ 923 w 10000"/>
              <a:gd name="connsiteY73" fmla="*/ 2946 h 10000"/>
              <a:gd name="connsiteX74" fmla="*/ 797 w 10000"/>
              <a:gd name="connsiteY74" fmla="*/ 2849 h 10000"/>
              <a:gd name="connsiteX75" fmla="*/ 680 w 10000"/>
              <a:gd name="connsiteY75" fmla="*/ 2742 h 10000"/>
              <a:gd name="connsiteX76" fmla="*/ 680 w 10000"/>
              <a:gd name="connsiteY76" fmla="*/ 2742 h 10000"/>
              <a:gd name="connsiteX77" fmla="*/ 590 w 10000"/>
              <a:gd name="connsiteY77" fmla="*/ 2649 h 10000"/>
              <a:gd name="connsiteX78" fmla="*/ 504 w 10000"/>
              <a:gd name="connsiteY78" fmla="*/ 2557 h 10000"/>
              <a:gd name="connsiteX79" fmla="*/ 423 w 10000"/>
              <a:gd name="connsiteY79" fmla="*/ 2459 h 10000"/>
              <a:gd name="connsiteX80" fmla="*/ 356 w 10000"/>
              <a:gd name="connsiteY80" fmla="*/ 2362 h 10000"/>
              <a:gd name="connsiteX81" fmla="*/ 288 w 10000"/>
              <a:gd name="connsiteY81" fmla="*/ 2260 h 10000"/>
              <a:gd name="connsiteX82" fmla="*/ 230 w 10000"/>
              <a:gd name="connsiteY82" fmla="*/ 2154 h 10000"/>
              <a:gd name="connsiteX83" fmla="*/ 180 w 10000"/>
              <a:gd name="connsiteY83" fmla="*/ 2047 h 10000"/>
              <a:gd name="connsiteX84" fmla="*/ 131 w 10000"/>
              <a:gd name="connsiteY84" fmla="*/ 1941 h 10000"/>
              <a:gd name="connsiteX85" fmla="*/ 95 w 10000"/>
              <a:gd name="connsiteY85" fmla="*/ 1830 h 10000"/>
              <a:gd name="connsiteX86" fmla="*/ 63 w 10000"/>
              <a:gd name="connsiteY86" fmla="*/ 1714 h 10000"/>
              <a:gd name="connsiteX87" fmla="*/ 36 w 10000"/>
              <a:gd name="connsiteY87" fmla="*/ 1593 h 10000"/>
              <a:gd name="connsiteX88" fmla="*/ 18 w 10000"/>
              <a:gd name="connsiteY88" fmla="*/ 1473 h 10000"/>
              <a:gd name="connsiteX89" fmla="*/ 5 w 10000"/>
              <a:gd name="connsiteY89" fmla="*/ 1352 h 10000"/>
              <a:gd name="connsiteX90" fmla="*/ 0 w 10000"/>
              <a:gd name="connsiteY90" fmla="*/ 1227 h 10000"/>
              <a:gd name="connsiteX91" fmla="*/ 0 w 10000"/>
              <a:gd name="connsiteY91" fmla="*/ 1098 h 10000"/>
              <a:gd name="connsiteX92" fmla="*/ 9 w 10000"/>
              <a:gd name="connsiteY92" fmla="*/ 968 h 10000"/>
              <a:gd name="connsiteX93" fmla="*/ 9 w 10000"/>
              <a:gd name="connsiteY93" fmla="*/ 968 h 10000"/>
              <a:gd name="connsiteX94" fmla="*/ 23 w 10000"/>
              <a:gd name="connsiteY94" fmla="*/ 848 h 10000"/>
              <a:gd name="connsiteX95" fmla="*/ 41 w 10000"/>
              <a:gd name="connsiteY95" fmla="*/ 727 h 10000"/>
              <a:gd name="connsiteX96" fmla="*/ 68 w 10000"/>
              <a:gd name="connsiteY96" fmla="*/ 607 h 10000"/>
              <a:gd name="connsiteX97" fmla="*/ 95 w 10000"/>
              <a:gd name="connsiteY97" fmla="*/ 491 h 10000"/>
              <a:gd name="connsiteX98" fmla="*/ 131 w 10000"/>
              <a:gd name="connsiteY98" fmla="*/ 375 h 10000"/>
              <a:gd name="connsiteX99" fmla="*/ 171 w 10000"/>
              <a:gd name="connsiteY99" fmla="*/ 259 h 10000"/>
              <a:gd name="connsiteX100" fmla="*/ 212 w 10000"/>
              <a:gd name="connsiteY100" fmla="*/ 148 h 10000"/>
              <a:gd name="connsiteX101" fmla="*/ 266 w 10000"/>
              <a:gd name="connsiteY101" fmla="*/ 37 h 10000"/>
              <a:gd name="connsiteX102" fmla="*/ 266 w 10000"/>
              <a:gd name="connsiteY102" fmla="*/ 37 h 10000"/>
              <a:gd name="connsiteX103" fmla="*/ 275 w 10000"/>
              <a:gd name="connsiteY103" fmla="*/ 0 h 10000"/>
              <a:gd name="connsiteX104" fmla="*/ 275 w 10000"/>
              <a:gd name="connsiteY104" fmla="*/ 0 h 10000"/>
              <a:gd name="connsiteX0" fmla="*/ 275 w 10218"/>
              <a:gd name="connsiteY0" fmla="*/ 0 h 10181"/>
              <a:gd name="connsiteX1" fmla="*/ 275 w 10218"/>
              <a:gd name="connsiteY1" fmla="*/ 0 h 10181"/>
              <a:gd name="connsiteX2" fmla="*/ 6380 w 10218"/>
              <a:gd name="connsiteY2" fmla="*/ 0 h 10181"/>
              <a:gd name="connsiteX3" fmla="*/ 10000 w 10218"/>
              <a:gd name="connsiteY3" fmla="*/ 9893 h 10181"/>
              <a:gd name="connsiteX4" fmla="*/ 10000 w 10218"/>
              <a:gd name="connsiteY4" fmla="*/ 9893 h 10181"/>
              <a:gd name="connsiteX5" fmla="*/ 10000 w 10218"/>
              <a:gd name="connsiteY5" fmla="*/ 9940 h 10181"/>
              <a:gd name="connsiteX6" fmla="*/ 10000 w 10218"/>
              <a:gd name="connsiteY6" fmla="*/ 9940 h 10181"/>
              <a:gd name="connsiteX7" fmla="*/ 10000 w 10218"/>
              <a:gd name="connsiteY7" fmla="*/ 9958 h 10181"/>
              <a:gd name="connsiteX8" fmla="*/ 9991 w 10218"/>
              <a:gd name="connsiteY8" fmla="*/ 9972 h 10181"/>
              <a:gd name="connsiteX9" fmla="*/ 9982 w 10218"/>
              <a:gd name="connsiteY9" fmla="*/ 9981 h 10181"/>
              <a:gd name="connsiteX10" fmla="*/ 9959 w 10218"/>
              <a:gd name="connsiteY10" fmla="*/ 9991 h 10181"/>
              <a:gd name="connsiteX11" fmla="*/ 9734 w 10218"/>
              <a:gd name="connsiteY11" fmla="*/ 10000 h 10181"/>
              <a:gd name="connsiteX12" fmla="*/ 7052 w 10218"/>
              <a:gd name="connsiteY12" fmla="*/ 8902 h 10181"/>
              <a:gd name="connsiteX13" fmla="*/ 6805 w 10218"/>
              <a:gd name="connsiteY13" fmla="*/ 8736 h 10181"/>
              <a:gd name="connsiteX14" fmla="*/ 6562 w 10218"/>
              <a:gd name="connsiteY14" fmla="*/ 8564 h 10181"/>
              <a:gd name="connsiteX15" fmla="*/ 6319 w 10218"/>
              <a:gd name="connsiteY15" fmla="*/ 8388 h 10181"/>
              <a:gd name="connsiteX16" fmla="*/ 6085 w 10218"/>
              <a:gd name="connsiteY16" fmla="*/ 8208 h 10181"/>
              <a:gd name="connsiteX17" fmla="*/ 5851 w 10218"/>
              <a:gd name="connsiteY17" fmla="*/ 8022 h 10181"/>
              <a:gd name="connsiteX18" fmla="*/ 5621 w 10218"/>
              <a:gd name="connsiteY18" fmla="*/ 7832 h 10181"/>
              <a:gd name="connsiteX19" fmla="*/ 5392 w 10218"/>
              <a:gd name="connsiteY19" fmla="*/ 7642 h 10181"/>
              <a:gd name="connsiteX20" fmla="*/ 5167 w 10218"/>
              <a:gd name="connsiteY20" fmla="*/ 7443 h 10181"/>
              <a:gd name="connsiteX21" fmla="*/ 5167 w 10218"/>
              <a:gd name="connsiteY21" fmla="*/ 7443 h 10181"/>
              <a:gd name="connsiteX22" fmla="*/ 4905 w 10218"/>
              <a:gd name="connsiteY22" fmla="*/ 7216 h 10181"/>
              <a:gd name="connsiteX23" fmla="*/ 4905 w 10218"/>
              <a:gd name="connsiteY23" fmla="*/ 7216 h 10181"/>
              <a:gd name="connsiteX24" fmla="*/ 4995 w 10218"/>
              <a:gd name="connsiteY24" fmla="*/ 7040 h 10181"/>
              <a:gd name="connsiteX25" fmla="*/ 5077 w 10218"/>
              <a:gd name="connsiteY25" fmla="*/ 6864 h 10181"/>
              <a:gd name="connsiteX26" fmla="*/ 5077 w 10218"/>
              <a:gd name="connsiteY26" fmla="*/ 6864 h 10181"/>
              <a:gd name="connsiteX27" fmla="*/ 5113 w 10218"/>
              <a:gd name="connsiteY27" fmla="*/ 6781 h 10181"/>
              <a:gd name="connsiteX28" fmla="*/ 5144 w 10218"/>
              <a:gd name="connsiteY28" fmla="*/ 6693 h 10181"/>
              <a:gd name="connsiteX29" fmla="*/ 5176 w 10218"/>
              <a:gd name="connsiteY29" fmla="*/ 6605 h 10181"/>
              <a:gd name="connsiteX30" fmla="*/ 5203 w 10218"/>
              <a:gd name="connsiteY30" fmla="*/ 6517 h 10181"/>
              <a:gd name="connsiteX31" fmla="*/ 5225 w 10218"/>
              <a:gd name="connsiteY31" fmla="*/ 6424 h 10181"/>
              <a:gd name="connsiteX32" fmla="*/ 5243 w 10218"/>
              <a:gd name="connsiteY32" fmla="*/ 6336 h 10181"/>
              <a:gd name="connsiteX33" fmla="*/ 5252 w 10218"/>
              <a:gd name="connsiteY33" fmla="*/ 6244 h 10181"/>
              <a:gd name="connsiteX34" fmla="*/ 5261 w 10218"/>
              <a:gd name="connsiteY34" fmla="*/ 6146 h 10181"/>
              <a:gd name="connsiteX35" fmla="*/ 5261 w 10218"/>
              <a:gd name="connsiteY35" fmla="*/ 6146 h 10181"/>
              <a:gd name="connsiteX36" fmla="*/ 5266 w 10218"/>
              <a:gd name="connsiteY36" fmla="*/ 6040 h 10181"/>
              <a:gd name="connsiteX37" fmla="*/ 5257 w 10218"/>
              <a:gd name="connsiteY37" fmla="*/ 5933 h 10181"/>
              <a:gd name="connsiteX38" fmla="*/ 5243 w 10218"/>
              <a:gd name="connsiteY38" fmla="*/ 5831 h 10181"/>
              <a:gd name="connsiteX39" fmla="*/ 5221 w 10218"/>
              <a:gd name="connsiteY39" fmla="*/ 5730 h 10181"/>
              <a:gd name="connsiteX40" fmla="*/ 5189 w 10218"/>
              <a:gd name="connsiteY40" fmla="*/ 5632 h 10181"/>
              <a:gd name="connsiteX41" fmla="*/ 5149 w 10218"/>
              <a:gd name="connsiteY41" fmla="*/ 5535 h 10181"/>
              <a:gd name="connsiteX42" fmla="*/ 5099 w 10218"/>
              <a:gd name="connsiteY42" fmla="*/ 5442 h 10181"/>
              <a:gd name="connsiteX43" fmla="*/ 5045 w 10218"/>
              <a:gd name="connsiteY43" fmla="*/ 5350 h 10181"/>
              <a:gd name="connsiteX44" fmla="*/ 5045 w 10218"/>
              <a:gd name="connsiteY44" fmla="*/ 5350 h 10181"/>
              <a:gd name="connsiteX45" fmla="*/ 4986 w 10218"/>
              <a:gd name="connsiteY45" fmla="*/ 5266 h 10181"/>
              <a:gd name="connsiteX46" fmla="*/ 4923 w 10218"/>
              <a:gd name="connsiteY46" fmla="*/ 5183 h 10181"/>
              <a:gd name="connsiteX47" fmla="*/ 4856 w 10218"/>
              <a:gd name="connsiteY47" fmla="*/ 5109 h 10181"/>
              <a:gd name="connsiteX48" fmla="*/ 4784 w 10218"/>
              <a:gd name="connsiteY48" fmla="*/ 5035 h 10181"/>
              <a:gd name="connsiteX49" fmla="*/ 4707 w 10218"/>
              <a:gd name="connsiteY49" fmla="*/ 4965 h 10181"/>
              <a:gd name="connsiteX50" fmla="*/ 4631 w 10218"/>
              <a:gd name="connsiteY50" fmla="*/ 4900 h 10181"/>
              <a:gd name="connsiteX51" fmla="*/ 4550 w 10218"/>
              <a:gd name="connsiteY51" fmla="*/ 4836 h 10181"/>
              <a:gd name="connsiteX52" fmla="*/ 4469 w 10218"/>
              <a:gd name="connsiteY52" fmla="*/ 4775 h 10181"/>
              <a:gd name="connsiteX53" fmla="*/ 4469 w 10218"/>
              <a:gd name="connsiteY53" fmla="*/ 4775 h 10181"/>
              <a:gd name="connsiteX54" fmla="*/ 4347 w 10218"/>
              <a:gd name="connsiteY54" fmla="*/ 4687 h 10181"/>
              <a:gd name="connsiteX55" fmla="*/ 4226 w 10218"/>
              <a:gd name="connsiteY55" fmla="*/ 4609 h 10181"/>
              <a:gd name="connsiteX56" fmla="*/ 4104 w 10218"/>
              <a:gd name="connsiteY56" fmla="*/ 4530 h 10181"/>
              <a:gd name="connsiteX57" fmla="*/ 3978 w 10218"/>
              <a:gd name="connsiteY57" fmla="*/ 4456 h 10181"/>
              <a:gd name="connsiteX58" fmla="*/ 3852 w 10218"/>
              <a:gd name="connsiteY58" fmla="*/ 4386 h 10181"/>
              <a:gd name="connsiteX59" fmla="*/ 3722 w 10218"/>
              <a:gd name="connsiteY59" fmla="*/ 4317 h 10181"/>
              <a:gd name="connsiteX60" fmla="*/ 3591 w 10218"/>
              <a:gd name="connsiteY60" fmla="*/ 4252 h 10181"/>
              <a:gd name="connsiteX61" fmla="*/ 3461 w 10218"/>
              <a:gd name="connsiteY61" fmla="*/ 4187 h 10181"/>
              <a:gd name="connsiteX62" fmla="*/ 3461 w 10218"/>
              <a:gd name="connsiteY62" fmla="*/ 4187 h 10181"/>
              <a:gd name="connsiteX63" fmla="*/ 3029 w 10218"/>
              <a:gd name="connsiteY63" fmla="*/ 3993 h 10181"/>
              <a:gd name="connsiteX64" fmla="*/ 2601 w 10218"/>
              <a:gd name="connsiteY64" fmla="*/ 3798 h 10181"/>
              <a:gd name="connsiteX65" fmla="*/ 1742 w 10218"/>
              <a:gd name="connsiteY65" fmla="*/ 3414 h 10181"/>
              <a:gd name="connsiteX66" fmla="*/ 1742 w 10218"/>
              <a:gd name="connsiteY66" fmla="*/ 3414 h 10181"/>
              <a:gd name="connsiteX67" fmla="*/ 1598 w 10218"/>
              <a:gd name="connsiteY67" fmla="*/ 3349 h 10181"/>
              <a:gd name="connsiteX68" fmla="*/ 1454 w 10218"/>
              <a:gd name="connsiteY68" fmla="*/ 3279 h 10181"/>
              <a:gd name="connsiteX69" fmla="*/ 1314 w 10218"/>
              <a:gd name="connsiteY69" fmla="*/ 3205 h 10181"/>
              <a:gd name="connsiteX70" fmla="*/ 1179 w 10218"/>
              <a:gd name="connsiteY70" fmla="*/ 3126 h 10181"/>
              <a:gd name="connsiteX71" fmla="*/ 1049 w 10218"/>
              <a:gd name="connsiteY71" fmla="*/ 3038 h 10181"/>
              <a:gd name="connsiteX72" fmla="*/ 923 w 10218"/>
              <a:gd name="connsiteY72" fmla="*/ 2946 h 10181"/>
              <a:gd name="connsiteX73" fmla="*/ 797 w 10218"/>
              <a:gd name="connsiteY73" fmla="*/ 2849 h 10181"/>
              <a:gd name="connsiteX74" fmla="*/ 680 w 10218"/>
              <a:gd name="connsiteY74" fmla="*/ 2742 h 10181"/>
              <a:gd name="connsiteX75" fmla="*/ 680 w 10218"/>
              <a:gd name="connsiteY75" fmla="*/ 2742 h 10181"/>
              <a:gd name="connsiteX76" fmla="*/ 590 w 10218"/>
              <a:gd name="connsiteY76" fmla="*/ 2649 h 10181"/>
              <a:gd name="connsiteX77" fmla="*/ 504 w 10218"/>
              <a:gd name="connsiteY77" fmla="*/ 2557 h 10181"/>
              <a:gd name="connsiteX78" fmla="*/ 423 w 10218"/>
              <a:gd name="connsiteY78" fmla="*/ 2459 h 10181"/>
              <a:gd name="connsiteX79" fmla="*/ 356 w 10218"/>
              <a:gd name="connsiteY79" fmla="*/ 2362 h 10181"/>
              <a:gd name="connsiteX80" fmla="*/ 288 w 10218"/>
              <a:gd name="connsiteY80" fmla="*/ 2260 h 10181"/>
              <a:gd name="connsiteX81" fmla="*/ 230 w 10218"/>
              <a:gd name="connsiteY81" fmla="*/ 2154 h 10181"/>
              <a:gd name="connsiteX82" fmla="*/ 180 w 10218"/>
              <a:gd name="connsiteY82" fmla="*/ 2047 h 10181"/>
              <a:gd name="connsiteX83" fmla="*/ 131 w 10218"/>
              <a:gd name="connsiteY83" fmla="*/ 1941 h 10181"/>
              <a:gd name="connsiteX84" fmla="*/ 95 w 10218"/>
              <a:gd name="connsiteY84" fmla="*/ 1830 h 10181"/>
              <a:gd name="connsiteX85" fmla="*/ 63 w 10218"/>
              <a:gd name="connsiteY85" fmla="*/ 1714 h 10181"/>
              <a:gd name="connsiteX86" fmla="*/ 36 w 10218"/>
              <a:gd name="connsiteY86" fmla="*/ 1593 h 10181"/>
              <a:gd name="connsiteX87" fmla="*/ 18 w 10218"/>
              <a:gd name="connsiteY87" fmla="*/ 1473 h 10181"/>
              <a:gd name="connsiteX88" fmla="*/ 5 w 10218"/>
              <a:gd name="connsiteY88" fmla="*/ 1352 h 10181"/>
              <a:gd name="connsiteX89" fmla="*/ 0 w 10218"/>
              <a:gd name="connsiteY89" fmla="*/ 1227 h 10181"/>
              <a:gd name="connsiteX90" fmla="*/ 0 w 10218"/>
              <a:gd name="connsiteY90" fmla="*/ 1098 h 10181"/>
              <a:gd name="connsiteX91" fmla="*/ 9 w 10218"/>
              <a:gd name="connsiteY91" fmla="*/ 968 h 10181"/>
              <a:gd name="connsiteX92" fmla="*/ 9 w 10218"/>
              <a:gd name="connsiteY92" fmla="*/ 968 h 10181"/>
              <a:gd name="connsiteX93" fmla="*/ 23 w 10218"/>
              <a:gd name="connsiteY93" fmla="*/ 848 h 10181"/>
              <a:gd name="connsiteX94" fmla="*/ 41 w 10218"/>
              <a:gd name="connsiteY94" fmla="*/ 727 h 10181"/>
              <a:gd name="connsiteX95" fmla="*/ 68 w 10218"/>
              <a:gd name="connsiteY95" fmla="*/ 607 h 10181"/>
              <a:gd name="connsiteX96" fmla="*/ 95 w 10218"/>
              <a:gd name="connsiteY96" fmla="*/ 491 h 10181"/>
              <a:gd name="connsiteX97" fmla="*/ 131 w 10218"/>
              <a:gd name="connsiteY97" fmla="*/ 375 h 10181"/>
              <a:gd name="connsiteX98" fmla="*/ 171 w 10218"/>
              <a:gd name="connsiteY98" fmla="*/ 259 h 10181"/>
              <a:gd name="connsiteX99" fmla="*/ 212 w 10218"/>
              <a:gd name="connsiteY99" fmla="*/ 148 h 10181"/>
              <a:gd name="connsiteX100" fmla="*/ 266 w 10218"/>
              <a:gd name="connsiteY100" fmla="*/ 37 h 10181"/>
              <a:gd name="connsiteX101" fmla="*/ 266 w 10218"/>
              <a:gd name="connsiteY101" fmla="*/ 37 h 10181"/>
              <a:gd name="connsiteX102" fmla="*/ 275 w 10218"/>
              <a:gd name="connsiteY102" fmla="*/ 0 h 10181"/>
              <a:gd name="connsiteX103" fmla="*/ 275 w 10218"/>
              <a:gd name="connsiteY103" fmla="*/ 0 h 10181"/>
              <a:gd name="connsiteX0" fmla="*/ 275 w 10222"/>
              <a:gd name="connsiteY0" fmla="*/ 0 h 10180"/>
              <a:gd name="connsiteX1" fmla="*/ 275 w 10222"/>
              <a:gd name="connsiteY1" fmla="*/ 0 h 10180"/>
              <a:gd name="connsiteX2" fmla="*/ 6380 w 10222"/>
              <a:gd name="connsiteY2" fmla="*/ 0 h 10180"/>
              <a:gd name="connsiteX3" fmla="*/ 10000 w 10222"/>
              <a:gd name="connsiteY3" fmla="*/ 9893 h 10180"/>
              <a:gd name="connsiteX4" fmla="*/ 10000 w 10222"/>
              <a:gd name="connsiteY4" fmla="*/ 9893 h 10180"/>
              <a:gd name="connsiteX5" fmla="*/ 10000 w 10222"/>
              <a:gd name="connsiteY5" fmla="*/ 9940 h 10180"/>
              <a:gd name="connsiteX6" fmla="*/ 10000 w 10222"/>
              <a:gd name="connsiteY6" fmla="*/ 9940 h 10180"/>
              <a:gd name="connsiteX7" fmla="*/ 10000 w 10222"/>
              <a:gd name="connsiteY7" fmla="*/ 9958 h 10180"/>
              <a:gd name="connsiteX8" fmla="*/ 9991 w 10222"/>
              <a:gd name="connsiteY8" fmla="*/ 9972 h 10180"/>
              <a:gd name="connsiteX9" fmla="*/ 9982 w 10222"/>
              <a:gd name="connsiteY9" fmla="*/ 9981 h 10180"/>
              <a:gd name="connsiteX10" fmla="*/ 9734 w 10222"/>
              <a:gd name="connsiteY10" fmla="*/ 10000 h 10180"/>
              <a:gd name="connsiteX11" fmla="*/ 7052 w 10222"/>
              <a:gd name="connsiteY11" fmla="*/ 8902 h 10180"/>
              <a:gd name="connsiteX12" fmla="*/ 6805 w 10222"/>
              <a:gd name="connsiteY12" fmla="*/ 8736 h 10180"/>
              <a:gd name="connsiteX13" fmla="*/ 6562 w 10222"/>
              <a:gd name="connsiteY13" fmla="*/ 8564 h 10180"/>
              <a:gd name="connsiteX14" fmla="*/ 6319 w 10222"/>
              <a:gd name="connsiteY14" fmla="*/ 8388 h 10180"/>
              <a:gd name="connsiteX15" fmla="*/ 6085 w 10222"/>
              <a:gd name="connsiteY15" fmla="*/ 8208 h 10180"/>
              <a:gd name="connsiteX16" fmla="*/ 5851 w 10222"/>
              <a:gd name="connsiteY16" fmla="*/ 8022 h 10180"/>
              <a:gd name="connsiteX17" fmla="*/ 5621 w 10222"/>
              <a:gd name="connsiteY17" fmla="*/ 7832 h 10180"/>
              <a:gd name="connsiteX18" fmla="*/ 5392 w 10222"/>
              <a:gd name="connsiteY18" fmla="*/ 7642 h 10180"/>
              <a:gd name="connsiteX19" fmla="*/ 5167 w 10222"/>
              <a:gd name="connsiteY19" fmla="*/ 7443 h 10180"/>
              <a:gd name="connsiteX20" fmla="*/ 5167 w 10222"/>
              <a:gd name="connsiteY20" fmla="*/ 7443 h 10180"/>
              <a:gd name="connsiteX21" fmla="*/ 4905 w 10222"/>
              <a:gd name="connsiteY21" fmla="*/ 7216 h 10180"/>
              <a:gd name="connsiteX22" fmla="*/ 4905 w 10222"/>
              <a:gd name="connsiteY22" fmla="*/ 7216 h 10180"/>
              <a:gd name="connsiteX23" fmla="*/ 4995 w 10222"/>
              <a:gd name="connsiteY23" fmla="*/ 7040 h 10180"/>
              <a:gd name="connsiteX24" fmla="*/ 5077 w 10222"/>
              <a:gd name="connsiteY24" fmla="*/ 6864 h 10180"/>
              <a:gd name="connsiteX25" fmla="*/ 5077 w 10222"/>
              <a:gd name="connsiteY25" fmla="*/ 6864 h 10180"/>
              <a:gd name="connsiteX26" fmla="*/ 5113 w 10222"/>
              <a:gd name="connsiteY26" fmla="*/ 6781 h 10180"/>
              <a:gd name="connsiteX27" fmla="*/ 5144 w 10222"/>
              <a:gd name="connsiteY27" fmla="*/ 6693 h 10180"/>
              <a:gd name="connsiteX28" fmla="*/ 5176 w 10222"/>
              <a:gd name="connsiteY28" fmla="*/ 6605 h 10180"/>
              <a:gd name="connsiteX29" fmla="*/ 5203 w 10222"/>
              <a:gd name="connsiteY29" fmla="*/ 6517 h 10180"/>
              <a:gd name="connsiteX30" fmla="*/ 5225 w 10222"/>
              <a:gd name="connsiteY30" fmla="*/ 6424 h 10180"/>
              <a:gd name="connsiteX31" fmla="*/ 5243 w 10222"/>
              <a:gd name="connsiteY31" fmla="*/ 6336 h 10180"/>
              <a:gd name="connsiteX32" fmla="*/ 5252 w 10222"/>
              <a:gd name="connsiteY32" fmla="*/ 6244 h 10180"/>
              <a:gd name="connsiteX33" fmla="*/ 5261 w 10222"/>
              <a:gd name="connsiteY33" fmla="*/ 6146 h 10180"/>
              <a:gd name="connsiteX34" fmla="*/ 5261 w 10222"/>
              <a:gd name="connsiteY34" fmla="*/ 6146 h 10180"/>
              <a:gd name="connsiteX35" fmla="*/ 5266 w 10222"/>
              <a:gd name="connsiteY35" fmla="*/ 6040 h 10180"/>
              <a:gd name="connsiteX36" fmla="*/ 5257 w 10222"/>
              <a:gd name="connsiteY36" fmla="*/ 5933 h 10180"/>
              <a:gd name="connsiteX37" fmla="*/ 5243 w 10222"/>
              <a:gd name="connsiteY37" fmla="*/ 5831 h 10180"/>
              <a:gd name="connsiteX38" fmla="*/ 5221 w 10222"/>
              <a:gd name="connsiteY38" fmla="*/ 5730 h 10180"/>
              <a:gd name="connsiteX39" fmla="*/ 5189 w 10222"/>
              <a:gd name="connsiteY39" fmla="*/ 5632 h 10180"/>
              <a:gd name="connsiteX40" fmla="*/ 5149 w 10222"/>
              <a:gd name="connsiteY40" fmla="*/ 5535 h 10180"/>
              <a:gd name="connsiteX41" fmla="*/ 5099 w 10222"/>
              <a:gd name="connsiteY41" fmla="*/ 5442 h 10180"/>
              <a:gd name="connsiteX42" fmla="*/ 5045 w 10222"/>
              <a:gd name="connsiteY42" fmla="*/ 5350 h 10180"/>
              <a:gd name="connsiteX43" fmla="*/ 5045 w 10222"/>
              <a:gd name="connsiteY43" fmla="*/ 5350 h 10180"/>
              <a:gd name="connsiteX44" fmla="*/ 4986 w 10222"/>
              <a:gd name="connsiteY44" fmla="*/ 5266 h 10180"/>
              <a:gd name="connsiteX45" fmla="*/ 4923 w 10222"/>
              <a:gd name="connsiteY45" fmla="*/ 5183 h 10180"/>
              <a:gd name="connsiteX46" fmla="*/ 4856 w 10222"/>
              <a:gd name="connsiteY46" fmla="*/ 5109 h 10180"/>
              <a:gd name="connsiteX47" fmla="*/ 4784 w 10222"/>
              <a:gd name="connsiteY47" fmla="*/ 5035 h 10180"/>
              <a:gd name="connsiteX48" fmla="*/ 4707 w 10222"/>
              <a:gd name="connsiteY48" fmla="*/ 4965 h 10180"/>
              <a:gd name="connsiteX49" fmla="*/ 4631 w 10222"/>
              <a:gd name="connsiteY49" fmla="*/ 4900 h 10180"/>
              <a:gd name="connsiteX50" fmla="*/ 4550 w 10222"/>
              <a:gd name="connsiteY50" fmla="*/ 4836 h 10180"/>
              <a:gd name="connsiteX51" fmla="*/ 4469 w 10222"/>
              <a:gd name="connsiteY51" fmla="*/ 4775 h 10180"/>
              <a:gd name="connsiteX52" fmla="*/ 4469 w 10222"/>
              <a:gd name="connsiteY52" fmla="*/ 4775 h 10180"/>
              <a:gd name="connsiteX53" fmla="*/ 4347 w 10222"/>
              <a:gd name="connsiteY53" fmla="*/ 4687 h 10180"/>
              <a:gd name="connsiteX54" fmla="*/ 4226 w 10222"/>
              <a:gd name="connsiteY54" fmla="*/ 4609 h 10180"/>
              <a:gd name="connsiteX55" fmla="*/ 4104 w 10222"/>
              <a:gd name="connsiteY55" fmla="*/ 4530 h 10180"/>
              <a:gd name="connsiteX56" fmla="*/ 3978 w 10222"/>
              <a:gd name="connsiteY56" fmla="*/ 4456 h 10180"/>
              <a:gd name="connsiteX57" fmla="*/ 3852 w 10222"/>
              <a:gd name="connsiteY57" fmla="*/ 4386 h 10180"/>
              <a:gd name="connsiteX58" fmla="*/ 3722 w 10222"/>
              <a:gd name="connsiteY58" fmla="*/ 4317 h 10180"/>
              <a:gd name="connsiteX59" fmla="*/ 3591 w 10222"/>
              <a:gd name="connsiteY59" fmla="*/ 4252 h 10180"/>
              <a:gd name="connsiteX60" fmla="*/ 3461 w 10222"/>
              <a:gd name="connsiteY60" fmla="*/ 4187 h 10180"/>
              <a:gd name="connsiteX61" fmla="*/ 3461 w 10222"/>
              <a:gd name="connsiteY61" fmla="*/ 4187 h 10180"/>
              <a:gd name="connsiteX62" fmla="*/ 3029 w 10222"/>
              <a:gd name="connsiteY62" fmla="*/ 3993 h 10180"/>
              <a:gd name="connsiteX63" fmla="*/ 2601 w 10222"/>
              <a:gd name="connsiteY63" fmla="*/ 3798 h 10180"/>
              <a:gd name="connsiteX64" fmla="*/ 1742 w 10222"/>
              <a:gd name="connsiteY64" fmla="*/ 3414 h 10180"/>
              <a:gd name="connsiteX65" fmla="*/ 1742 w 10222"/>
              <a:gd name="connsiteY65" fmla="*/ 3414 h 10180"/>
              <a:gd name="connsiteX66" fmla="*/ 1598 w 10222"/>
              <a:gd name="connsiteY66" fmla="*/ 3349 h 10180"/>
              <a:gd name="connsiteX67" fmla="*/ 1454 w 10222"/>
              <a:gd name="connsiteY67" fmla="*/ 3279 h 10180"/>
              <a:gd name="connsiteX68" fmla="*/ 1314 w 10222"/>
              <a:gd name="connsiteY68" fmla="*/ 3205 h 10180"/>
              <a:gd name="connsiteX69" fmla="*/ 1179 w 10222"/>
              <a:gd name="connsiteY69" fmla="*/ 3126 h 10180"/>
              <a:gd name="connsiteX70" fmla="*/ 1049 w 10222"/>
              <a:gd name="connsiteY70" fmla="*/ 3038 h 10180"/>
              <a:gd name="connsiteX71" fmla="*/ 923 w 10222"/>
              <a:gd name="connsiteY71" fmla="*/ 2946 h 10180"/>
              <a:gd name="connsiteX72" fmla="*/ 797 w 10222"/>
              <a:gd name="connsiteY72" fmla="*/ 2849 h 10180"/>
              <a:gd name="connsiteX73" fmla="*/ 680 w 10222"/>
              <a:gd name="connsiteY73" fmla="*/ 2742 h 10180"/>
              <a:gd name="connsiteX74" fmla="*/ 680 w 10222"/>
              <a:gd name="connsiteY74" fmla="*/ 2742 h 10180"/>
              <a:gd name="connsiteX75" fmla="*/ 590 w 10222"/>
              <a:gd name="connsiteY75" fmla="*/ 2649 h 10180"/>
              <a:gd name="connsiteX76" fmla="*/ 504 w 10222"/>
              <a:gd name="connsiteY76" fmla="*/ 2557 h 10180"/>
              <a:gd name="connsiteX77" fmla="*/ 423 w 10222"/>
              <a:gd name="connsiteY77" fmla="*/ 2459 h 10180"/>
              <a:gd name="connsiteX78" fmla="*/ 356 w 10222"/>
              <a:gd name="connsiteY78" fmla="*/ 2362 h 10180"/>
              <a:gd name="connsiteX79" fmla="*/ 288 w 10222"/>
              <a:gd name="connsiteY79" fmla="*/ 2260 h 10180"/>
              <a:gd name="connsiteX80" fmla="*/ 230 w 10222"/>
              <a:gd name="connsiteY80" fmla="*/ 2154 h 10180"/>
              <a:gd name="connsiteX81" fmla="*/ 180 w 10222"/>
              <a:gd name="connsiteY81" fmla="*/ 2047 h 10180"/>
              <a:gd name="connsiteX82" fmla="*/ 131 w 10222"/>
              <a:gd name="connsiteY82" fmla="*/ 1941 h 10180"/>
              <a:gd name="connsiteX83" fmla="*/ 95 w 10222"/>
              <a:gd name="connsiteY83" fmla="*/ 1830 h 10180"/>
              <a:gd name="connsiteX84" fmla="*/ 63 w 10222"/>
              <a:gd name="connsiteY84" fmla="*/ 1714 h 10180"/>
              <a:gd name="connsiteX85" fmla="*/ 36 w 10222"/>
              <a:gd name="connsiteY85" fmla="*/ 1593 h 10180"/>
              <a:gd name="connsiteX86" fmla="*/ 18 w 10222"/>
              <a:gd name="connsiteY86" fmla="*/ 1473 h 10180"/>
              <a:gd name="connsiteX87" fmla="*/ 5 w 10222"/>
              <a:gd name="connsiteY87" fmla="*/ 1352 h 10180"/>
              <a:gd name="connsiteX88" fmla="*/ 0 w 10222"/>
              <a:gd name="connsiteY88" fmla="*/ 1227 h 10180"/>
              <a:gd name="connsiteX89" fmla="*/ 0 w 10222"/>
              <a:gd name="connsiteY89" fmla="*/ 1098 h 10180"/>
              <a:gd name="connsiteX90" fmla="*/ 9 w 10222"/>
              <a:gd name="connsiteY90" fmla="*/ 968 h 10180"/>
              <a:gd name="connsiteX91" fmla="*/ 9 w 10222"/>
              <a:gd name="connsiteY91" fmla="*/ 968 h 10180"/>
              <a:gd name="connsiteX92" fmla="*/ 23 w 10222"/>
              <a:gd name="connsiteY92" fmla="*/ 848 h 10180"/>
              <a:gd name="connsiteX93" fmla="*/ 41 w 10222"/>
              <a:gd name="connsiteY93" fmla="*/ 727 h 10180"/>
              <a:gd name="connsiteX94" fmla="*/ 68 w 10222"/>
              <a:gd name="connsiteY94" fmla="*/ 607 h 10180"/>
              <a:gd name="connsiteX95" fmla="*/ 95 w 10222"/>
              <a:gd name="connsiteY95" fmla="*/ 491 h 10180"/>
              <a:gd name="connsiteX96" fmla="*/ 131 w 10222"/>
              <a:gd name="connsiteY96" fmla="*/ 375 h 10180"/>
              <a:gd name="connsiteX97" fmla="*/ 171 w 10222"/>
              <a:gd name="connsiteY97" fmla="*/ 259 h 10180"/>
              <a:gd name="connsiteX98" fmla="*/ 212 w 10222"/>
              <a:gd name="connsiteY98" fmla="*/ 148 h 10180"/>
              <a:gd name="connsiteX99" fmla="*/ 266 w 10222"/>
              <a:gd name="connsiteY99" fmla="*/ 37 h 10180"/>
              <a:gd name="connsiteX100" fmla="*/ 266 w 10222"/>
              <a:gd name="connsiteY100" fmla="*/ 37 h 10180"/>
              <a:gd name="connsiteX101" fmla="*/ 275 w 10222"/>
              <a:gd name="connsiteY101" fmla="*/ 0 h 10180"/>
              <a:gd name="connsiteX102" fmla="*/ 275 w 10222"/>
              <a:gd name="connsiteY102" fmla="*/ 0 h 1018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734 w 10000"/>
              <a:gd name="connsiteY9" fmla="*/ 10000 h 10000"/>
              <a:gd name="connsiteX10" fmla="*/ 7052 w 10000"/>
              <a:gd name="connsiteY10" fmla="*/ 8902 h 10000"/>
              <a:gd name="connsiteX11" fmla="*/ 6805 w 10000"/>
              <a:gd name="connsiteY11" fmla="*/ 8736 h 10000"/>
              <a:gd name="connsiteX12" fmla="*/ 6562 w 10000"/>
              <a:gd name="connsiteY12" fmla="*/ 8564 h 10000"/>
              <a:gd name="connsiteX13" fmla="*/ 6319 w 10000"/>
              <a:gd name="connsiteY13" fmla="*/ 8388 h 10000"/>
              <a:gd name="connsiteX14" fmla="*/ 6085 w 10000"/>
              <a:gd name="connsiteY14" fmla="*/ 8208 h 10000"/>
              <a:gd name="connsiteX15" fmla="*/ 5851 w 10000"/>
              <a:gd name="connsiteY15" fmla="*/ 8022 h 10000"/>
              <a:gd name="connsiteX16" fmla="*/ 5621 w 10000"/>
              <a:gd name="connsiteY16" fmla="*/ 7832 h 10000"/>
              <a:gd name="connsiteX17" fmla="*/ 5392 w 10000"/>
              <a:gd name="connsiteY17" fmla="*/ 7642 h 10000"/>
              <a:gd name="connsiteX18" fmla="*/ 5167 w 10000"/>
              <a:gd name="connsiteY18" fmla="*/ 7443 h 10000"/>
              <a:gd name="connsiteX19" fmla="*/ 5167 w 10000"/>
              <a:gd name="connsiteY19" fmla="*/ 7443 h 10000"/>
              <a:gd name="connsiteX20" fmla="*/ 4905 w 10000"/>
              <a:gd name="connsiteY20" fmla="*/ 7216 h 10000"/>
              <a:gd name="connsiteX21" fmla="*/ 4905 w 10000"/>
              <a:gd name="connsiteY21" fmla="*/ 7216 h 10000"/>
              <a:gd name="connsiteX22" fmla="*/ 4995 w 10000"/>
              <a:gd name="connsiteY22" fmla="*/ 7040 h 10000"/>
              <a:gd name="connsiteX23" fmla="*/ 5077 w 10000"/>
              <a:gd name="connsiteY23" fmla="*/ 6864 h 10000"/>
              <a:gd name="connsiteX24" fmla="*/ 5077 w 10000"/>
              <a:gd name="connsiteY24" fmla="*/ 6864 h 10000"/>
              <a:gd name="connsiteX25" fmla="*/ 5113 w 10000"/>
              <a:gd name="connsiteY25" fmla="*/ 6781 h 10000"/>
              <a:gd name="connsiteX26" fmla="*/ 5144 w 10000"/>
              <a:gd name="connsiteY26" fmla="*/ 6693 h 10000"/>
              <a:gd name="connsiteX27" fmla="*/ 5176 w 10000"/>
              <a:gd name="connsiteY27" fmla="*/ 6605 h 10000"/>
              <a:gd name="connsiteX28" fmla="*/ 5203 w 10000"/>
              <a:gd name="connsiteY28" fmla="*/ 6517 h 10000"/>
              <a:gd name="connsiteX29" fmla="*/ 5225 w 10000"/>
              <a:gd name="connsiteY29" fmla="*/ 6424 h 10000"/>
              <a:gd name="connsiteX30" fmla="*/ 5243 w 10000"/>
              <a:gd name="connsiteY30" fmla="*/ 6336 h 10000"/>
              <a:gd name="connsiteX31" fmla="*/ 5252 w 10000"/>
              <a:gd name="connsiteY31" fmla="*/ 6244 h 10000"/>
              <a:gd name="connsiteX32" fmla="*/ 5261 w 10000"/>
              <a:gd name="connsiteY32" fmla="*/ 6146 h 10000"/>
              <a:gd name="connsiteX33" fmla="*/ 5261 w 10000"/>
              <a:gd name="connsiteY33" fmla="*/ 6146 h 10000"/>
              <a:gd name="connsiteX34" fmla="*/ 5266 w 10000"/>
              <a:gd name="connsiteY34" fmla="*/ 6040 h 10000"/>
              <a:gd name="connsiteX35" fmla="*/ 5257 w 10000"/>
              <a:gd name="connsiteY35" fmla="*/ 5933 h 10000"/>
              <a:gd name="connsiteX36" fmla="*/ 5243 w 10000"/>
              <a:gd name="connsiteY36" fmla="*/ 5831 h 10000"/>
              <a:gd name="connsiteX37" fmla="*/ 5221 w 10000"/>
              <a:gd name="connsiteY37" fmla="*/ 5730 h 10000"/>
              <a:gd name="connsiteX38" fmla="*/ 5189 w 10000"/>
              <a:gd name="connsiteY38" fmla="*/ 5632 h 10000"/>
              <a:gd name="connsiteX39" fmla="*/ 5149 w 10000"/>
              <a:gd name="connsiteY39" fmla="*/ 5535 h 10000"/>
              <a:gd name="connsiteX40" fmla="*/ 5099 w 10000"/>
              <a:gd name="connsiteY40" fmla="*/ 5442 h 10000"/>
              <a:gd name="connsiteX41" fmla="*/ 5045 w 10000"/>
              <a:gd name="connsiteY41" fmla="*/ 5350 h 10000"/>
              <a:gd name="connsiteX42" fmla="*/ 5045 w 10000"/>
              <a:gd name="connsiteY42" fmla="*/ 5350 h 10000"/>
              <a:gd name="connsiteX43" fmla="*/ 4986 w 10000"/>
              <a:gd name="connsiteY43" fmla="*/ 5266 h 10000"/>
              <a:gd name="connsiteX44" fmla="*/ 4923 w 10000"/>
              <a:gd name="connsiteY44" fmla="*/ 5183 h 10000"/>
              <a:gd name="connsiteX45" fmla="*/ 4856 w 10000"/>
              <a:gd name="connsiteY45" fmla="*/ 5109 h 10000"/>
              <a:gd name="connsiteX46" fmla="*/ 4784 w 10000"/>
              <a:gd name="connsiteY46" fmla="*/ 5035 h 10000"/>
              <a:gd name="connsiteX47" fmla="*/ 4707 w 10000"/>
              <a:gd name="connsiteY47" fmla="*/ 4965 h 10000"/>
              <a:gd name="connsiteX48" fmla="*/ 4631 w 10000"/>
              <a:gd name="connsiteY48" fmla="*/ 4900 h 10000"/>
              <a:gd name="connsiteX49" fmla="*/ 4550 w 10000"/>
              <a:gd name="connsiteY49" fmla="*/ 4836 h 10000"/>
              <a:gd name="connsiteX50" fmla="*/ 4469 w 10000"/>
              <a:gd name="connsiteY50" fmla="*/ 4775 h 10000"/>
              <a:gd name="connsiteX51" fmla="*/ 4469 w 10000"/>
              <a:gd name="connsiteY51" fmla="*/ 4775 h 10000"/>
              <a:gd name="connsiteX52" fmla="*/ 4347 w 10000"/>
              <a:gd name="connsiteY52" fmla="*/ 4687 h 10000"/>
              <a:gd name="connsiteX53" fmla="*/ 4226 w 10000"/>
              <a:gd name="connsiteY53" fmla="*/ 4609 h 10000"/>
              <a:gd name="connsiteX54" fmla="*/ 4104 w 10000"/>
              <a:gd name="connsiteY54" fmla="*/ 4530 h 10000"/>
              <a:gd name="connsiteX55" fmla="*/ 3978 w 10000"/>
              <a:gd name="connsiteY55" fmla="*/ 4456 h 10000"/>
              <a:gd name="connsiteX56" fmla="*/ 3852 w 10000"/>
              <a:gd name="connsiteY56" fmla="*/ 4386 h 10000"/>
              <a:gd name="connsiteX57" fmla="*/ 3722 w 10000"/>
              <a:gd name="connsiteY57" fmla="*/ 4317 h 10000"/>
              <a:gd name="connsiteX58" fmla="*/ 3591 w 10000"/>
              <a:gd name="connsiteY58" fmla="*/ 4252 h 10000"/>
              <a:gd name="connsiteX59" fmla="*/ 3461 w 10000"/>
              <a:gd name="connsiteY59" fmla="*/ 4187 h 10000"/>
              <a:gd name="connsiteX60" fmla="*/ 3461 w 10000"/>
              <a:gd name="connsiteY60" fmla="*/ 4187 h 10000"/>
              <a:gd name="connsiteX61" fmla="*/ 3029 w 10000"/>
              <a:gd name="connsiteY61" fmla="*/ 3993 h 10000"/>
              <a:gd name="connsiteX62" fmla="*/ 2601 w 10000"/>
              <a:gd name="connsiteY62" fmla="*/ 3798 h 10000"/>
              <a:gd name="connsiteX63" fmla="*/ 1742 w 10000"/>
              <a:gd name="connsiteY63" fmla="*/ 3414 h 10000"/>
              <a:gd name="connsiteX64" fmla="*/ 1742 w 10000"/>
              <a:gd name="connsiteY64" fmla="*/ 3414 h 10000"/>
              <a:gd name="connsiteX65" fmla="*/ 1598 w 10000"/>
              <a:gd name="connsiteY65" fmla="*/ 3349 h 10000"/>
              <a:gd name="connsiteX66" fmla="*/ 1454 w 10000"/>
              <a:gd name="connsiteY66" fmla="*/ 3279 h 10000"/>
              <a:gd name="connsiteX67" fmla="*/ 1314 w 10000"/>
              <a:gd name="connsiteY67" fmla="*/ 3205 h 10000"/>
              <a:gd name="connsiteX68" fmla="*/ 1179 w 10000"/>
              <a:gd name="connsiteY68" fmla="*/ 3126 h 10000"/>
              <a:gd name="connsiteX69" fmla="*/ 1049 w 10000"/>
              <a:gd name="connsiteY69" fmla="*/ 3038 h 10000"/>
              <a:gd name="connsiteX70" fmla="*/ 923 w 10000"/>
              <a:gd name="connsiteY70" fmla="*/ 2946 h 10000"/>
              <a:gd name="connsiteX71" fmla="*/ 797 w 10000"/>
              <a:gd name="connsiteY71" fmla="*/ 2849 h 10000"/>
              <a:gd name="connsiteX72" fmla="*/ 680 w 10000"/>
              <a:gd name="connsiteY72" fmla="*/ 2742 h 10000"/>
              <a:gd name="connsiteX73" fmla="*/ 680 w 10000"/>
              <a:gd name="connsiteY73" fmla="*/ 2742 h 10000"/>
              <a:gd name="connsiteX74" fmla="*/ 590 w 10000"/>
              <a:gd name="connsiteY74" fmla="*/ 2649 h 10000"/>
              <a:gd name="connsiteX75" fmla="*/ 504 w 10000"/>
              <a:gd name="connsiteY75" fmla="*/ 2557 h 10000"/>
              <a:gd name="connsiteX76" fmla="*/ 423 w 10000"/>
              <a:gd name="connsiteY76" fmla="*/ 2459 h 10000"/>
              <a:gd name="connsiteX77" fmla="*/ 356 w 10000"/>
              <a:gd name="connsiteY77" fmla="*/ 2362 h 10000"/>
              <a:gd name="connsiteX78" fmla="*/ 288 w 10000"/>
              <a:gd name="connsiteY78" fmla="*/ 2260 h 10000"/>
              <a:gd name="connsiteX79" fmla="*/ 230 w 10000"/>
              <a:gd name="connsiteY79" fmla="*/ 2154 h 10000"/>
              <a:gd name="connsiteX80" fmla="*/ 180 w 10000"/>
              <a:gd name="connsiteY80" fmla="*/ 2047 h 10000"/>
              <a:gd name="connsiteX81" fmla="*/ 131 w 10000"/>
              <a:gd name="connsiteY81" fmla="*/ 1941 h 10000"/>
              <a:gd name="connsiteX82" fmla="*/ 95 w 10000"/>
              <a:gd name="connsiteY82" fmla="*/ 1830 h 10000"/>
              <a:gd name="connsiteX83" fmla="*/ 63 w 10000"/>
              <a:gd name="connsiteY83" fmla="*/ 1714 h 10000"/>
              <a:gd name="connsiteX84" fmla="*/ 36 w 10000"/>
              <a:gd name="connsiteY84" fmla="*/ 1593 h 10000"/>
              <a:gd name="connsiteX85" fmla="*/ 18 w 10000"/>
              <a:gd name="connsiteY85" fmla="*/ 1473 h 10000"/>
              <a:gd name="connsiteX86" fmla="*/ 5 w 10000"/>
              <a:gd name="connsiteY86" fmla="*/ 1352 h 10000"/>
              <a:gd name="connsiteX87" fmla="*/ 0 w 10000"/>
              <a:gd name="connsiteY87" fmla="*/ 1227 h 10000"/>
              <a:gd name="connsiteX88" fmla="*/ 0 w 10000"/>
              <a:gd name="connsiteY88" fmla="*/ 1098 h 10000"/>
              <a:gd name="connsiteX89" fmla="*/ 9 w 10000"/>
              <a:gd name="connsiteY89" fmla="*/ 968 h 10000"/>
              <a:gd name="connsiteX90" fmla="*/ 9 w 10000"/>
              <a:gd name="connsiteY90" fmla="*/ 968 h 10000"/>
              <a:gd name="connsiteX91" fmla="*/ 23 w 10000"/>
              <a:gd name="connsiteY91" fmla="*/ 848 h 10000"/>
              <a:gd name="connsiteX92" fmla="*/ 41 w 10000"/>
              <a:gd name="connsiteY92" fmla="*/ 727 h 10000"/>
              <a:gd name="connsiteX93" fmla="*/ 68 w 10000"/>
              <a:gd name="connsiteY93" fmla="*/ 607 h 10000"/>
              <a:gd name="connsiteX94" fmla="*/ 95 w 10000"/>
              <a:gd name="connsiteY94" fmla="*/ 491 h 10000"/>
              <a:gd name="connsiteX95" fmla="*/ 131 w 10000"/>
              <a:gd name="connsiteY95" fmla="*/ 375 h 10000"/>
              <a:gd name="connsiteX96" fmla="*/ 171 w 10000"/>
              <a:gd name="connsiteY96" fmla="*/ 259 h 10000"/>
              <a:gd name="connsiteX97" fmla="*/ 212 w 10000"/>
              <a:gd name="connsiteY97" fmla="*/ 148 h 10000"/>
              <a:gd name="connsiteX98" fmla="*/ 266 w 10000"/>
              <a:gd name="connsiteY98" fmla="*/ 37 h 10000"/>
              <a:gd name="connsiteX99" fmla="*/ 266 w 10000"/>
              <a:gd name="connsiteY99" fmla="*/ 37 h 10000"/>
              <a:gd name="connsiteX100" fmla="*/ 275 w 10000"/>
              <a:gd name="connsiteY100" fmla="*/ 0 h 10000"/>
              <a:gd name="connsiteX101" fmla="*/ 275 w 10000"/>
              <a:gd name="connsiteY101"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9991 w 10000"/>
              <a:gd name="connsiteY7" fmla="*/ 9972 h 10000"/>
              <a:gd name="connsiteX8" fmla="*/ 9734 w 10000"/>
              <a:gd name="connsiteY8" fmla="*/ 10000 h 10000"/>
              <a:gd name="connsiteX9" fmla="*/ 7052 w 10000"/>
              <a:gd name="connsiteY9" fmla="*/ 8902 h 10000"/>
              <a:gd name="connsiteX10" fmla="*/ 6805 w 10000"/>
              <a:gd name="connsiteY10" fmla="*/ 8736 h 10000"/>
              <a:gd name="connsiteX11" fmla="*/ 6562 w 10000"/>
              <a:gd name="connsiteY11" fmla="*/ 8564 h 10000"/>
              <a:gd name="connsiteX12" fmla="*/ 6319 w 10000"/>
              <a:gd name="connsiteY12" fmla="*/ 8388 h 10000"/>
              <a:gd name="connsiteX13" fmla="*/ 6085 w 10000"/>
              <a:gd name="connsiteY13" fmla="*/ 8208 h 10000"/>
              <a:gd name="connsiteX14" fmla="*/ 5851 w 10000"/>
              <a:gd name="connsiteY14" fmla="*/ 8022 h 10000"/>
              <a:gd name="connsiteX15" fmla="*/ 5621 w 10000"/>
              <a:gd name="connsiteY15" fmla="*/ 7832 h 10000"/>
              <a:gd name="connsiteX16" fmla="*/ 5392 w 10000"/>
              <a:gd name="connsiteY16" fmla="*/ 7642 h 10000"/>
              <a:gd name="connsiteX17" fmla="*/ 5167 w 10000"/>
              <a:gd name="connsiteY17" fmla="*/ 7443 h 10000"/>
              <a:gd name="connsiteX18" fmla="*/ 5167 w 10000"/>
              <a:gd name="connsiteY18" fmla="*/ 7443 h 10000"/>
              <a:gd name="connsiteX19" fmla="*/ 4905 w 10000"/>
              <a:gd name="connsiteY19" fmla="*/ 7216 h 10000"/>
              <a:gd name="connsiteX20" fmla="*/ 4905 w 10000"/>
              <a:gd name="connsiteY20" fmla="*/ 7216 h 10000"/>
              <a:gd name="connsiteX21" fmla="*/ 4995 w 10000"/>
              <a:gd name="connsiteY21" fmla="*/ 7040 h 10000"/>
              <a:gd name="connsiteX22" fmla="*/ 5077 w 10000"/>
              <a:gd name="connsiteY22" fmla="*/ 6864 h 10000"/>
              <a:gd name="connsiteX23" fmla="*/ 5077 w 10000"/>
              <a:gd name="connsiteY23" fmla="*/ 6864 h 10000"/>
              <a:gd name="connsiteX24" fmla="*/ 5113 w 10000"/>
              <a:gd name="connsiteY24" fmla="*/ 6781 h 10000"/>
              <a:gd name="connsiteX25" fmla="*/ 5144 w 10000"/>
              <a:gd name="connsiteY25" fmla="*/ 6693 h 10000"/>
              <a:gd name="connsiteX26" fmla="*/ 5176 w 10000"/>
              <a:gd name="connsiteY26" fmla="*/ 6605 h 10000"/>
              <a:gd name="connsiteX27" fmla="*/ 5203 w 10000"/>
              <a:gd name="connsiteY27" fmla="*/ 6517 h 10000"/>
              <a:gd name="connsiteX28" fmla="*/ 5225 w 10000"/>
              <a:gd name="connsiteY28" fmla="*/ 6424 h 10000"/>
              <a:gd name="connsiteX29" fmla="*/ 5243 w 10000"/>
              <a:gd name="connsiteY29" fmla="*/ 6336 h 10000"/>
              <a:gd name="connsiteX30" fmla="*/ 5252 w 10000"/>
              <a:gd name="connsiteY30" fmla="*/ 6244 h 10000"/>
              <a:gd name="connsiteX31" fmla="*/ 5261 w 10000"/>
              <a:gd name="connsiteY31" fmla="*/ 6146 h 10000"/>
              <a:gd name="connsiteX32" fmla="*/ 5261 w 10000"/>
              <a:gd name="connsiteY32" fmla="*/ 6146 h 10000"/>
              <a:gd name="connsiteX33" fmla="*/ 5266 w 10000"/>
              <a:gd name="connsiteY33" fmla="*/ 6040 h 10000"/>
              <a:gd name="connsiteX34" fmla="*/ 5257 w 10000"/>
              <a:gd name="connsiteY34" fmla="*/ 5933 h 10000"/>
              <a:gd name="connsiteX35" fmla="*/ 5243 w 10000"/>
              <a:gd name="connsiteY35" fmla="*/ 5831 h 10000"/>
              <a:gd name="connsiteX36" fmla="*/ 5221 w 10000"/>
              <a:gd name="connsiteY36" fmla="*/ 5730 h 10000"/>
              <a:gd name="connsiteX37" fmla="*/ 5189 w 10000"/>
              <a:gd name="connsiteY37" fmla="*/ 5632 h 10000"/>
              <a:gd name="connsiteX38" fmla="*/ 5149 w 10000"/>
              <a:gd name="connsiteY38" fmla="*/ 5535 h 10000"/>
              <a:gd name="connsiteX39" fmla="*/ 5099 w 10000"/>
              <a:gd name="connsiteY39" fmla="*/ 5442 h 10000"/>
              <a:gd name="connsiteX40" fmla="*/ 5045 w 10000"/>
              <a:gd name="connsiteY40" fmla="*/ 5350 h 10000"/>
              <a:gd name="connsiteX41" fmla="*/ 5045 w 10000"/>
              <a:gd name="connsiteY41" fmla="*/ 5350 h 10000"/>
              <a:gd name="connsiteX42" fmla="*/ 4986 w 10000"/>
              <a:gd name="connsiteY42" fmla="*/ 5266 h 10000"/>
              <a:gd name="connsiteX43" fmla="*/ 4923 w 10000"/>
              <a:gd name="connsiteY43" fmla="*/ 5183 h 10000"/>
              <a:gd name="connsiteX44" fmla="*/ 4856 w 10000"/>
              <a:gd name="connsiteY44" fmla="*/ 5109 h 10000"/>
              <a:gd name="connsiteX45" fmla="*/ 4784 w 10000"/>
              <a:gd name="connsiteY45" fmla="*/ 5035 h 10000"/>
              <a:gd name="connsiteX46" fmla="*/ 4707 w 10000"/>
              <a:gd name="connsiteY46" fmla="*/ 4965 h 10000"/>
              <a:gd name="connsiteX47" fmla="*/ 4631 w 10000"/>
              <a:gd name="connsiteY47" fmla="*/ 4900 h 10000"/>
              <a:gd name="connsiteX48" fmla="*/ 4550 w 10000"/>
              <a:gd name="connsiteY48" fmla="*/ 4836 h 10000"/>
              <a:gd name="connsiteX49" fmla="*/ 4469 w 10000"/>
              <a:gd name="connsiteY49" fmla="*/ 4775 h 10000"/>
              <a:gd name="connsiteX50" fmla="*/ 4469 w 10000"/>
              <a:gd name="connsiteY50" fmla="*/ 4775 h 10000"/>
              <a:gd name="connsiteX51" fmla="*/ 4347 w 10000"/>
              <a:gd name="connsiteY51" fmla="*/ 4687 h 10000"/>
              <a:gd name="connsiteX52" fmla="*/ 4226 w 10000"/>
              <a:gd name="connsiteY52" fmla="*/ 4609 h 10000"/>
              <a:gd name="connsiteX53" fmla="*/ 4104 w 10000"/>
              <a:gd name="connsiteY53" fmla="*/ 4530 h 10000"/>
              <a:gd name="connsiteX54" fmla="*/ 3978 w 10000"/>
              <a:gd name="connsiteY54" fmla="*/ 4456 h 10000"/>
              <a:gd name="connsiteX55" fmla="*/ 3852 w 10000"/>
              <a:gd name="connsiteY55" fmla="*/ 4386 h 10000"/>
              <a:gd name="connsiteX56" fmla="*/ 3722 w 10000"/>
              <a:gd name="connsiteY56" fmla="*/ 4317 h 10000"/>
              <a:gd name="connsiteX57" fmla="*/ 3591 w 10000"/>
              <a:gd name="connsiteY57" fmla="*/ 4252 h 10000"/>
              <a:gd name="connsiteX58" fmla="*/ 3461 w 10000"/>
              <a:gd name="connsiteY58" fmla="*/ 4187 h 10000"/>
              <a:gd name="connsiteX59" fmla="*/ 3461 w 10000"/>
              <a:gd name="connsiteY59" fmla="*/ 4187 h 10000"/>
              <a:gd name="connsiteX60" fmla="*/ 3029 w 10000"/>
              <a:gd name="connsiteY60" fmla="*/ 3993 h 10000"/>
              <a:gd name="connsiteX61" fmla="*/ 2601 w 10000"/>
              <a:gd name="connsiteY61" fmla="*/ 3798 h 10000"/>
              <a:gd name="connsiteX62" fmla="*/ 1742 w 10000"/>
              <a:gd name="connsiteY62" fmla="*/ 3414 h 10000"/>
              <a:gd name="connsiteX63" fmla="*/ 1742 w 10000"/>
              <a:gd name="connsiteY63" fmla="*/ 3414 h 10000"/>
              <a:gd name="connsiteX64" fmla="*/ 1598 w 10000"/>
              <a:gd name="connsiteY64" fmla="*/ 3349 h 10000"/>
              <a:gd name="connsiteX65" fmla="*/ 1454 w 10000"/>
              <a:gd name="connsiteY65" fmla="*/ 3279 h 10000"/>
              <a:gd name="connsiteX66" fmla="*/ 1314 w 10000"/>
              <a:gd name="connsiteY66" fmla="*/ 3205 h 10000"/>
              <a:gd name="connsiteX67" fmla="*/ 1179 w 10000"/>
              <a:gd name="connsiteY67" fmla="*/ 3126 h 10000"/>
              <a:gd name="connsiteX68" fmla="*/ 1049 w 10000"/>
              <a:gd name="connsiteY68" fmla="*/ 3038 h 10000"/>
              <a:gd name="connsiteX69" fmla="*/ 923 w 10000"/>
              <a:gd name="connsiteY69" fmla="*/ 2946 h 10000"/>
              <a:gd name="connsiteX70" fmla="*/ 797 w 10000"/>
              <a:gd name="connsiteY70" fmla="*/ 2849 h 10000"/>
              <a:gd name="connsiteX71" fmla="*/ 680 w 10000"/>
              <a:gd name="connsiteY71" fmla="*/ 2742 h 10000"/>
              <a:gd name="connsiteX72" fmla="*/ 680 w 10000"/>
              <a:gd name="connsiteY72" fmla="*/ 2742 h 10000"/>
              <a:gd name="connsiteX73" fmla="*/ 590 w 10000"/>
              <a:gd name="connsiteY73" fmla="*/ 2649 h 10000"/>
              <a:gd name="connsiteX74" fmla="*/ 504 w 10000"/>
              <a:gd name="connsiteY74" fmla="*/ 2557 h 10000"/>
              <a:gd name="connsiteX75" fmla="*/ 423 w 10000"/>
              <a:gd name="connsiteY75" fmla="*/ 2459 h 10000"/>
              <a:gd name="connsiteX76" fmla="*/ 356 w 10000"/>
              <a:gd name="connsiteY76" fmla="*/ 2362 h 10000"/>
              <a:gd name="connsiteX77" fmla="*/ 288 w 10000"/>
              <a:gd name="connsiteY77" fmla="*/ 2260 h 10000"/>
              <a:gd name="connsiteX78" fmla="*/ 230 w 10000"/>
              <a:gd name="connsiteY78" fmla="*/ 2154 h 10000"/>
              <a:gd name="connsiteX79" fmla="*/ 180 w 10000"/>
              <a:gd name="connsiteY79" fmla="*/ 2047 h 10000"/>
              <a:gd name="connsiteX80" fmla="*/ 131 w 10000"/>
              <a:gd name="connsiteY80" fmla="*/ 1941 h 10000"/>
              <a:gd name="connsiteX81" fmla="*/ 95 w 10000"/>
              <a:gd name="connsiteY81" fmla="*/ 1830 h 10000"/>
              <a:gd name="connsiteX82" fmla="*/ 63 w 10000"/>
              <a:gd name="connsiteY82" fmla="*/ 1714 h 10000"/>
              <a:gd name="connsiteX83" fmla="*/ 36 w 10000"/>
              <a:gd name="connsiteY83" fmla="*/ 1593 h 10000"/>
              <a:gd name="connsiteX84" fmla="*/ 18 w 10000"/>
              <a:gd name="connsiteY84" fmla="*/ 1473 h 10000"/>
              <a:gd name="connsiteX85" fmla="*/ 5 w 10000"/>
              <a:gd name="connsiteY85" fmla="*/ 1352 h 10000"/>
              <a:gd name="connsiteX86" fmla="*/ 0 w 10000"/>
              <a:gd name="connsiteY86" fmla="*/ 1227 h 10000"/>
              <a:gd name="connsiteX87" fmla="*/ 0 w 10000"/>
              <a:gd name="connsiteY87" fmla="*/ 1098 h 10000"/>
              <a:gd name="connsiteX88" fmla="*/ 9 w 10000"/>
              <a:gd name="connsiteY88" fmla="*/ 968 h 10000"/>
              <a:gd name="connsiteX89" fmla="*/ 9 w 10000"/>
              <a:gd name="connsiteY89" fmla="*/ 968 h 10000"/>
              <a:gd name="connsiteX90" fmla="*/ 23 w 10000"/>
              <a:gd name="connsiteY90" fmla="*/ 848 h 10000"/>
              <a:gd name="connsiteX91" fmla="*/ 41 w 10000"/>
              <a:gd name="connsiteY91" fmla="*/ 727 h 10000"/>
              <a:gd name="connsiteX92" fmla="*/ 68 w 10000"/>
              <a:gd name="connsiteY92" fmla="*/ 607 h 10000"/>
              <a:gd name="connsiteX93" fmla="*/ 95 w 10000"/>
              <a:gd name="connsiteY93" fmla="*/ 491 h 10000"/>
              <a:gd name="connsiteX94" fmla="*/ 131 w 10000"/>
              <a:gd name="connsiteY94" fmla="*/ 375 h 10000"/>
              <a:gd name="connsiteX95" fmla="*/ 171 w 10000"/>
              <a:gd name="connsiteY95" fmla="*/ 259 h 10000"/>
              <a:gd name="connsiteX96" fmla="*/ 212 w 10000"/>
              <a:gd name="connsiteY96" fmla="*/ 148 h 10000"/>
              <a:gd name="connsiteX97" fmla="*/ 266 w 10000"/>
              <a:gd name="connsiteY97" fmla="*/ 37 h 10000"/>
              <a:gd name="connsiteX98" fmla="*/ 266 w 10000"/>
              <a:gd name="connsiteY98" fmla="*/ 37 h 10000"/>
              <a:gd name="connsiteX99" fmla="*/ 275 w 10000"/>
              <a:gd name="connsiteY99" fmla="*/ 0 h 10000"/>
              <a:gd name="connsiteX100" fmla="*/ 275 w 10000"/>
              <a:gd name="connsiteY100" fmla="*/ 0 h 10000"/>
              <a:gd name="connsiteX0" fmla="*/ 275 w 10225"/>
              <a:gd name="connsiteY0" fmla="*/ 0 h 10173"/>
              <a:gd name="connsiteX1" fmla="*/ 275 w 10225"/>
              <a:gd name="connsiteY1" fmla="*/ 0 h 10173"/>
              <a:gd name="connsiteX2" fmla="*/ 6380 w 10225"/>
              <a:gd name="connsiteY2" fmla="*/ 0 h 10173"/>
              <a:gd name="connsiteX3" fmla="*/ 10000 w 10225"/>
              <a:gd name="connsiteY3" fmla="*/ 9893 h 10173"/>
              <a:gd name="connsiteX4" fmla="*/ 10000 w 10225"/>
              <a:gd name="connsiteY4" fmla="*/ 9893 h 10173"/>
              <a:gd name="connsiteX5" fmla="*/ 10000 w 10225"/>
              <a:gd name="connsiteY5" fmla="*/ 9940 h 10173"/>
              <a:gd name="connsiteX6" fmla="*/ 10000 w 10225"/>
              <a:gd name="connsiteY6" fmla="*/ 9940 h 10173"/>
              <a:gd name="connsiteX7" fmla="*/ 9734 w 10225"/>
              <a:gd name="connsiteY7" fmla="*/ 10000 h 10173"/>
              <a:gd name="connsiteX8" fmla="*/ 7052 w 10225"/>
              <a:gd name="connsiteY8" fmla="*/ 8902 h 10173"/>
              <a:gd name="connsiteX9" fmla="*/ 6805 w 10225"/>
              <a:gd name="connsiteY9" fmla="*/ 8736 h 10173"/>
              <a:gd name="connsiteX10" fmla="*/ 6562 w 10225"/>
              <a:gd name="connsiteY10" fmla="*/ 8564 h 10173"/>
              <a:gd name="connsiteX11" fmla="*/ 6319 w 10225"/>
              <a:gd name="connsiteY11" fmla="*/ 8388 h 10173"/>
              <a:gd name="connsiteX12" fmla="*/ 6085 w 10225"/>
              <a:gd name="connsiteY12" fmla="*/ 8208 h 10173"/>
              <a:gd name="connsiteX13" fmla="*/ 5851 w 10225"/>
              <a:gd name="connsiteY13" fmla="*/ 8022 h 10173"/>
              <a:gd name="connsiteX14" fmla="*/ 5621 w 10225"/>
              <a:gd name="connsiteY14" fmla="*/ 7832 h 10173"/>
              <a:gd name="connsiteX15" fmla="*/ 5392 w 10225"/>
              <a:gd name="connsiteY15" fmla="*/ 7642 h 10173"/>
              <a:gd name="connsiteX16" fmla="*/ 5167 w 10225"/>
              <a:gd name="connsiteY16" fmla="*/ 7443 h 10173"/>
              <a:gd name="connsiteX17" fmla="*/ 5167 w 10225"/>
              <a:gd name="connsiteY17" fmla="*/ 7443 h 10173"/>
              <a:gd name="connsiteX18" fmla="*/ 4905 w 10225"/>
              <a:gd name="connsiteY18" fmla="*/ 7216 h 10173"/>
              <a:gd name="connsiteX19" fmla="*/ 4905 w 10225"/>
              <a:gd name="connsiteY19" fmla="*/ 7216 h 10173"/>
              <a:gd name="connsiteX20" fmla="*/ 4995 w 10225"/>
              <a:gd name="connsiteY20" fmla="*/ 7040 h 10173"/>
              <a:gd name="connsiteX21" fmla="*/ 5077 w 10225"/>
              <a:gd name="connsiteY21" fmla="*/ 6864 h 10173"/>
              <a:gd name="connsiteX22" fmla="*/ 5077 w 10225"/>
              <a:gd name="connsiteY22" fmla="*/ 6864 h 10173"/>
              <a:gd name="connsiteX23" fmla="*/ 5113 w 10225"/>
              <a:gd name="connsiteY23" fmla="*/ 6781 h 10173"/>
              <a:gd name="connsiteX24" fmla="*/ 5144 w 10225"/>
              <a:gd name="connsiteY24" fmla="*/ 6693 h 10173"/>
              <a:gd name="connsiteX25" fmla="*/ 5176 w 10225"/>
              <a:gd name="connsiteY25" fmla="*/ 6605 h 10173"/>
              <a:gd name="connsiteX26" fmla="*/ 5203 w 10225"/>
              <a:gd name="connsiteY26" fmla="*/ 6517 h 10173"/>
              <a:gd name="connsiteX27" fmla="*/ 5225 w 10225"/>
              <a:gd name="connsiteY27" fmla="*/ 6424 h 10173"/>
              <a:gd name="connsiteX28" fmla="*/ 5243 w 10225"/>
              <a:gd name="connsiteY28" fmla="*/ 6336 h 10173"/>
              <a:gd name="connsiteX29" fmla="*/ 5252 w 10225"/>
              <a:gd name="connsiteY29" fmla="*/ 6244 h 10173"/>
              <a:gd name="connsiteX30" fmla="*/ 5261 w 10225"/>
              <a:gd name="connsiteY30" fmla="*/ 6146 h 10173"/>
              <a:gd name="connsiteX31" fmla="*/ 5261 w 10225"/>
              <a:gd name="connsiteY31" fmla="*/ 6146 h 10173"/>
              <a:gd name="connsiteX32" fmla="*/ 5266 w 10225"/>
              <a:gd name="connsiteY32" fmla="*/ 6040 h 10173"/>
              <a:gd name="connsiteX33" fmla="*/ 5257 w 10225"/>
              <a:gd name="connsiteY33" fmla="*/ 5933 h 10173"/>
              <a:gd name="connsiteX34" fmla="*/ 5243 w 10225"/>
              <a:gd name="connsiteY34" fmla="*/ 5831 h 10173"/>
              <a:gd name="connsiteX35" fmla="*/ 5221 w 10225"/>
              <a:gd name="connsiteY35" fmla="*/ 5730 h 10173"/>
              <a:gd name="connsiteX36" fmla="*/ 5189 w 10225"/>
              <a:gd name="connsiteY36" fmla="*/ 5632 h 10173"/>
              <a:gd name="connsiteX37" fmla="*/ 5149 w 10225"/>
              <a:gd name="connsiteY37" fmla="*/ 5535 h 10173"/>
              <a:gd name="connsiteX38" fmla="*/ 5099 w 10225"/>
              <a:gd name="connsiteY38" fmla="*/ 5442 h 10173"/>
              <a:gd name="connsiteX39" fmla="*/ 5045 w 10225"/>
              <a:gd name="connsiteY39" fmla="*/ 5350 h 10173"/>
              <a:gd name="connsiteX40" fmla="*/ 5045 w 10225"/>
              <a:gd name="connsiteY40" fmla="*/ 5350 h 10173"/>
              <a:gd name="connsiteX41" fmla="*/ 4986 w 10225"/>
              <a:gd name="connsiteY41" fmla="*/ 5266 h 10173"/>
              <a:gd name="connsiteX42" fmla="*/ 4923 w 10225"/>
              <a:gd name="connsiteY42" fmla="*/ 5183 h 10173"/>
              <a:gd name="connsiteX43" fmla="*/ 4856 w 10225"/>
              <a:gd name="connsiteY43" fmla="*/ 5109 h 10173"/>
              <a:gd name="connsiteX44" fmla="*/ 4784 w 10225"/>
              <a:gd name="connsiteY44" fmla="*/ 5035 h 10173"/>
              <a:gd name="connsiteX45" fmla="*/ 4707 w 10225"/>
              <a:gd name="connsiteY45" fmla="*/ 4965 h 10173"/>
              <a:gd name="connsiteX46" fmla="*/ 4631 w 10225"/>
              <a:gd name="connsiteY46" fmla="*/ 4900 h 10173"/>
              <a:gd name="connsiteX47" fmla="*/ 4550 w 10225"/>
              <a:gd name="connsiteY47" fmla="*/ 4836 h 10173"/>
              <a:gd name="connsiteX48" fmla="*/ 4469 w 10225"/>
              <a:gd name="connsiteY48" fmla="*/ 4775 h 10173"/>
              <a:gd name="connsiteX49" fmla="*/ 4469 w 10225"/>
              <a:gd name="connsiteY49" fmla="*/ 4775 h 10173"/>
              <a:gd name="connsiteX50" fmla="*/ 4347 w 10225"/>
              <a:gd name="connsiteY50" fmla="*/ 4687 h 10173"/>
              <a:gd name="connsiteX51" fmla="*/ 4226 w 10225"/>
              <a:gd name="connsiteY51" fmla="*/ 4609 h 10173"/>
              <a:gd name="connsiteX52" fmla="*/ 4104 w 10225"/>
              <a:gd name="connsiteY52" fmla="*/ 4530 h 10173"/>
              <a:gd name="connsiteX53" fmla="*/ 3978 w 10225"/>
              <a:gd name="connsiteY53" fmla="*/ 4456 h 10173"/>
              <a:gd name="connsiteX54" fmla="*/ 3852 w 10225"/>
              <a:gd name="connsiteY54" fmla="*/ 4386 h 10173"/>
              <a:gd name="connsiteX55" fmla="*/ 3722 w 10225"/>
              <a:gd name="connsiteY55" fmla="*/ 4317 h 10173"/>
              <a:gd name="connsiteX56" fmla="*/ 3591 w 10225"/>
              <a:gd name="connsiteY56" fmla="*/ 4252 h 10173"/>
              <a:gd name="connsiteX57" fmla="*/ 3461 w 10225"/>
              <a:gd name="connsiteY57" fmla="*/ 4187 h 10173"/>
              <a:gd name="connsiteX58" fmla="*/ 3461 w 10225"/>
              <a:gd name="connsiteY58" fmla="*/ 4187 h 10173"/>
              <a:gd name="connsiteX59" fmla="*/ 3029 w 10225"/>
              <a:gd name="connsiteY59" fmla="*/ 3993 h 10173"/>
              <a:gd name="connsiteX60" fmla="*/ 2601 w 10225"/>
              <a:gd name="connsiteY60" fmla="*/ 3798 h 10173"/>
              <a:gd name="connsiteX61" fmla="*/ 1742 w 10225"/>
              <a:gd name="connsiteY61" fmla="*/ 3414 h 10173"/>
              <a:gd name="connsiteX62" fmla="*/ 1742 w 10225"/>
              <a:gd name="connsiteY62" fmla="*/ 3414 h 10173"/>
              <a:gd name="connsiteX63" fmla="*/ 1598 w 10225"/>
              <a:gd name="connsiteY63" fmla="*/ 3349 h 10173"/>
              <a:gd name="connsiteX64" fmla="*/ 1454 w 10225"/>
              <a:gd name="connsiteY64" fmla="*/ 3279 h 10173"/>
              <a:gd name="connsiteX65" fmla="*/ 1314 w 10225"/>
              <a:gd name="connsiteY65" fmla="*/ 3205 h 10173"/>
              <a:gd name="connsiteX66" fmla="*/ 1179 w 10225"/>
              <a:gd name="connsiteY66" fmla="*/ 3126 h 10173"/>
              <a:gd name="connsiteX67" fmla="*/ 1049 w 10225"/>
              <a:gd name="connsiteY67" fmla="*/ 3038 h 10173"/>
              <a:gd name="connsiteX68" fmla="*/ 923 w 10225"/>
              <a:gd name="connsiteY68" fmla="*/ 2946 h 10173"/>
              <a:gd name="connsiteX69" fmla="*/ 797 w 10225"/>
              <a:gd name="connsiteY69" fmla="*/ 2849 h 10173"/>
              <a:gd name="connsiteX70" fmla="*/ 680 w 10225"/>
              <a:gd name="connsiteY70" fmla="*/ 2742 h 10173"/>
              <a:gd name="connsiteX71" fmla="*/ 680 w 10225"/>
              <a:gd name="connsiteY71" fmla="*/ 2742 h 10173"/>
              <a:gd name="connsiteX72" fmla="*/ 590 w 10225"/>
              <a:gd name="connsiteY72" fmla="*/ 2649 h 10173"/>
              <a:gd name="connsiteX73" fmla="*/ 504 w 10225"/>
              <a:gd name="connsiteY73" fmla="*/ 2557 h 10173"/>
              <a:gd name="connsiteX74" fmla="*/ 423 w 10225"/>
              <a:gd name="connsiteY74" fmla="*/ 2459 h 10173"/>
              <a:gd name="connsiteX75" fmla="*/ 356 w 10225"/>
              <a:gd name="connsiteY75" fmla="*/ 2362 h 10173"/>
              <a:gd name="connsiteX76" fmla="*/ 288 w 10225"/>
              <a:gd name="connsiteY76" fmla="*/ 2260 h 10173"/>
              <a:gd name="connsiteX77" fmla="*/ 230 w 10225"/>
              <a:gd name="connsiteY77" fmla="*/ 2154 h 10173"/>
              <a:gd name="connsiteX78" fmla="*/ 180 w 10225"/>
              <a:gd name="connsiteY78" fmla="*/ 2047 h 10173"/>
              <a:gd name="connsiteX79" fmla="*/ 131 w 10225"/>
              <a:gd name="connsiteY79" fmla="*/ 1941 h 10173"/>
              <a:gd name="connsiteX80" fmla="*/ 95 w 10225"/>
              <a:gd name="connsiteY80" fmla="*/ 1830 h 10173"/>
              <a:gd name="connsiteX81" fmla="*/ 63 w 10225"/>
              <a:gd name="connsiteY81" fmla="*/ 1714 h 10173"/>
              <a:gd name="connsiteX82" fmla="*/ 36 w 10225"/>
              <a:gd name="connsiteY82" fmla="*/ 1593 h 10173"/>
              <a:gd name="connsiteX83" fmla="*/ 18 w 10225"/>
              <a:gd name="connsiteY83" fmla="*/ 1473 h 10173"/>
              <a:gd name="connsiteX84" fmla="*/ 5 w 10225"/>
              <a:gd name="connsiteY84" fmla="*/ 1352 h 10173"/>
              <a:gd name="connsiteX85" fmla="*/ 0 w 10225"/>
              <a:gd name="connsiteY85" fmla="*/ 1227 h 10173"/>
              <a:gd name="connsiteX86" fmla="*/ 0 w 10225"/>
              <a:gd name="connsiteY86" fmla="*/ 1098 h 10173"/>
              <a:gd name="connsiteX87" fmla="*/ 9 w 10225"/>
              <a:gd name="connsiteY87" fmla="*/ 968 h 10173"/>
              <a:gd name="connsiteX88" fmla="*/ 9 w 10225"/>
              <a:gd name="connsiteY88" fmla="*/ 968 h 10173"/>
              <a:gd name="connsiteX89" fmla="*/ 23 w 10225"/>
              <a:gd name="connsiteY89" fmla="*/ 848 h 10173"/>
              <a:gd name="connsiteX90" fmla="*/ 41 w 10225"/>
              <a:gd name="connsiteY90" fmla="*/ 727 h 10173"/>
              <a:gd name="connsiteX91" fmla="*/ 68 w 10225"/>
              <a:gd name="connsiteY91" fmla="*/ 607 h 10173"/>
              <a:gd name="connsiteX92" fmla="*/ 95 w 10225"/>
              <a:gd name="connsiteY92" fmla="*/ 491 h 10173"/>
              <a:gd name="connsiteX93" fmla="*/ 131 w 10225"/>
              <a:gd name="connsiteY93" fmla="*/ 375 h 10173"/>
              <a:gd name="connsiteX94" fmla="*/ 171 w 10225"/>
              <a:gd name="connsiteY94" fmla="*/ 259 h 10173"/>
              <a:gd name="connsiteX95" fmla="*/ 212 w 10225"/>
              <a:gd name="connsiteY95" fmla="*/ 148 h 10173"/>
              <a:gd name="connsiteX96" fmla="*/ 266 w 10225"/>
              <a:gd name="connsiteY96" fmla="*/ 37 h 10173"/>
              <a:gd name="connsiteX97" fmla="*/ 266 w 10225"/>
              <a:gd name="connsiteY97" fmla="*/ 37 h 10173"/>
              <a:gd name="connsiteX98" fmla="*/ 275 w 10225"/>
              <a:gd name="connsiteY98" fmla="*/ 0 h 10173"/>
              <a:gd name="connsiteX99" fmla="*/ 275 w 10225"/>
              <a:gd name="connsiteY99" fmla="*/ 0 h 10173"/>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9734 w 10000"/>
              <a:gd name="connsiteY6" fmla="*/ 10000 h 10000"/>
              <a:gd name="connsiteX7" fmla="*/ 7052 w 10000"/>
              <a:gd name="connsiteY7" fmla="*/ 8902 h 10000"/>
              <a:gd name="connsiteX8" fmla="*/ 6805 w 10000"/>
              <a:gd name="connsiteY8" fmla="*/ 8736 h 10000"/>
              <a:gd name="connsiteX9" fmla="*/ 6562 w 10000"/>
              <a:gd name="connsiteY9" fmla="*/ 8564 h 10000"/>
              <a:gd name="connsiteX10" fmla="*/ 6319 w 10000"/>
              <a:gd name="connsiteY10" fmla="*/ 8388 h 10000"/>
              <a:gd name="connsiteX11" fmla="*/ 6085 w 10000"/>
              <a:gd name="connsiteY11" fmla="*/ 8208 h 10000"/>
              <a:gd name="connsiteX12" fmla="*/ 5851 w 10000"/>
              <a:gd name="connsiteY12" fmla="*/ 8022 h 10000"/>
              <a:gd name="connsiteX13" fmla="*/ 5621 w 10000"/>
              <a:gd name="connsiteY13" fmla="*/ 7832 h 10000"/>
              <a:gd name="connsiteX14" fmla="*/ 5392 w 10000"/>
              <a:gd name="connsiteY14" fmla="*/ 7642 h 10000"/>
              <a:gd name="connsiteX15" fmla="*/ 5167 w 10000"/>
              <a:gd name="connsiteY15" fmla="*/ 7443 h 10000"/>
              <a:gd name="connsiteX16" fmla="*/ 5167 w 10000"/>
              <a:gd name="connsiteY16" fmla="*/ 7443 h 10000"/>
              <a:gd name="connsiteX17" fmla="*/ 4905 w 10000"/>
              <a:gd name="connsiteY17" fmla="*/ 7216 h 10000"/>
              <a:gd name="connsiteX18" fmla="*/ 4905 w 10000"/>
              <a:gd name="connsiteY18" fmla="*/ 7216 h 10000"/>
              <a:gd name="connsiteX19" fmla="*/ 4995 w 10000"/>
              <a:gd name="connsiteY19" fmla="*/ 7040 h 10000"/>
              <a:gd name="connsiteX20" fmla="*/ 5077 w 10000"/>
              <a:gd name="connsiteY20" fmla="*/ 6864 h 10000"/>
              <a:gd name="connsiteX21" fmla="*/ 5077 w 10000"/>
              <a:gd name="connsiteY21" fmla="*/ 6864 h 10000"/>
              <a:gd name="connsiteX22" fmla="*/ 5113 w 10000"/>
              <a:gd name="connsiteY22" fmla="*/ 6781 h 10000"/>
              <a:gd name="connsiteX23" fmla="*/ 5144 w 10000"/>
              <a:gd name="connsiteY23" fmla="*/ 6693 h 10000"/>
              <a:gd name="connsiteX24" fmla="*/ 5176 w 10000"/>
              <a:gd name="connsiteY24" fmla="*/ 6605 h 10000"/>
              <a:gd name="connsiteX25" fmla="*/ 5203 w 10000"/>
              <a:gd name="connsiteY25" fmla="*/ 6517 h 10000"/>
              <a:gd name="connsiteX26" fmla="*/ 5225 w 10000"/>
              <a:gd name="connsiteY26" fmla="*/ 6424 h 10000"/>
              <a:gd name="connsiteX27" fmla="*/ 5243 w 10000"/>
              <a:gd name="connsiteY27" fmla="*/ 6336 h 10000"/>
              <a:gd name="connsiteX28" fmla="*/ 5252 w 10000"/>
              <a:gd name="connsiteY28" fmla="*/ 6244 h 10000"/>
              <a:gd name="connsiteX29" fmla="*/ 5261 w 10000"/>
              <a:gd name="connsiteY29" fmla="*/ 6146 h 10000"/>
              <a:gd name="connsiteX30" fmla="*/ 5261 w 10000"/>
              <a:gd name="connsiteY30" fmla="*/ 6146 h 10000"/>
              <a:gd name="connsiteX31" fmla="*/ 5266 w 10000"/>
              <a:gd name="connsiteY31" fmla="*/ 6040 h 10000"/>
              <a:gd name="connsiteX32" fmla="*/ 5257 w 10000"/>
              <a:gd name="connsiteY32" fmla="*/ 5933 h 10000"/>
              <a:gd name="connsiteX33" fmla="*/ 5243 w 10000"/>
              <a:gd name="connsiteY33" fmla="*/ 5831 h 10000"/>
              <a:gd name="connsiteX34" fmla="*/ 5221 w 10000"/>
              <a:gd name="connsiteY34" fmla="*/ 5730 h 10000"/>
              <a:gd name="connsiteX35" fmla="*/ 5189 w 10000"/>
              <a:gd name="connsiteY35" fmla="*/ 5632 h 10000"/>
              <a:gd name="connsiteX36" fmla="*/ 5149 w 10000"/>
              <a:gd name="connsiteY36" fmla="*/ 5535 h 10000"/>
              <a:gd name="connsiteX37" fmla="*/ 5099 w 10000"/>
              <a:gd name="connsiteY37" fmla="*/ 5442 h 10000"/>
              <a:gd name="connsiteX38" fmla="*/ 5045 w 10000"/>
              <a:gd name="connsiteY38" fmla="*/ 5350 h 10000"/>
              <a:gd name="connsiteX39" fmla="*/ 5045 w 10000"/>
              <a:gd name="connsiteY39" fmla="*/ 5350 h 10000"/>
              <a:gd name="connsiteX40" fmla="*/ 4986 w 10000"/>
              <a:gd name="connsiteY40" fmla="*/ 5266 h 10000"/>
              <a:gd name="connsiteX41" fmla="*/ 4923 w 10000"/>
              <a:gd name="connsiteY41" fmla="*/ 5183 h 10000"/>
              <a:gd name="connsiteX42" fmla="*/ 4856 w 10000"/>
              <a:gd name="connsiteY42" fmla="*/ 5109 h 10000"/>
              <a:gd name="connsiteX43" fmla="*/ 4784 w 10000"/>
              <a:gd name="connsiteY43" fmla="*/ 5035 h 10000"/>
              <a:gd name="connsiteX44" fmla="*/ 4707 w 10000"/>
              <a:gd name="connsiteY44" fmla="*/ 4965 h 10000"/>
              <a:gd name="connsiteX45" fmla="*/ 4631 w 10000"/>
              <a:gd name="connsiteY45" fmla="*/ 4900 h 10000"/>
              <a:gd name="connsiteX46" fmla="*/ 4550 w 10000"/>
              <a:gd name="connsiteY46" fmla="*/ 4836 h 10000"/>
              <a:gd name="connsiteX47" fmla="*/ 4469 w 10000"/>
              <a:gd name="connsiteY47" fmla="*/ 4775 h 10000"/>
              <a:gd name="connsiteX48" fmla="*/ 4469 w 10000"/>
              <a:gd name="connsiteY48" fmla="*/ 4775 h 10000"/>
              <a:gd name="connsiteX49" fmla="*/ 4347 w 10000"/>
              <a:gd name="connsiteY49" fmla="*/ 4687 h 10000"/>
              <a:gd name="connsiteX50" fmla="*/ 4226 w 10000"/>
              <a:gd name="connsiteY50" fmla="*/ 4609 h 10000"/>
              <a:gd name="connsiteX51" fmla="*/ 4104 w 10000"/>
              <a:gd name="connsiteY51" fmla="*/ 4530 h 10000"/>
              <a:gd name="connsiteX52" fmla="*/ 3978 w 10000"/>
              <a:gd name="connsiteY52" fmla="*/ 4456 h 10000"/>
              <a:gd name="connsiteX53" fmla="*/ 3852 w 10000"/>
              <a:gd name="connsiteY53" fmla="*/ 4386 h 10000"/>
              <a:gd name="connsiteX54" fmla="*/ 3722 w 10000"/>
              <a:gd name="connsiteY54" fmla="*/ 4317 h 10000"/>
              <a:gd name="connsiteX55" fmla="*/ 3591 w 10000"/>
              <a:gd name="connsiteY55" fmla="*/ 4252 h 10000"/>
              <a:gd name="connsiteX56" fmla="*/ 3461 w 10000"/>
              <a:gd name="connsiteY56" fmla="*/ 4187 h 10000"/>
              <a:gd name="connsiteX57" fmla="*/ 3461 w 10000"/>
              <a:gd name="connsiteY57" fmla="*/ 4187 h 10000"/>
              <a:gd name="connsiteX58" fmla="*/ 3029 w 10000"/>
              <a:gd name="connsiteY58" fmla="*/ 3993 h 10000"/>
              <a:gd name="connsiteX59" fmla="*/ 2601 w 10000"/>
              <a:gd name="connsiteY59" fmla="*/ 3798 h 10000"/>
              <a:gd name="connsiteX60" fmla="*/ 1742 w 10000"/>
              <a:gd name="connsiteY60" fmla="*/ 3414 h 10000"/>
              <a:gd name="connsiteX61" fmla="*/ 1742 w 10000"/>
              <a:gd name="connsiteY61" fmla="*/ 3414 h 10000"/>
              <a:gd name="connsiteX62" fmla="*/ 1598 w 10000"/>
              <a:gd name="connsiteY62" fmla="*/ 3349 h 10000"/>
              <a:gd name="connsiteX63" fmla="*/ 1454 w 10000"/>
              <a:gd name="connsiteY63" fmla="*/ 3279 h 10000"/>
              <a:gd name="connsiteX64" fmla="*/ 1314 w 10000"/>
              <a:gd name="connsiteY64" fmla="*/ 3205 h 10000"/>
              <a:gd name="connsiteX65" fmla="*/ 1179 w 10000"/>
              <a:gd name="connsiteY65" fmla="*/ 3126 h 10000"/>
              <a:gd name="connsiteX66" fmla="*/ 1049 w 10000"/>
              <a:gd name="connsiteY66" fmla="*/ 3038 h 10000"/>
              <a:gd name="connsiteX67" fmla="*/ 923 w 10000"/>
              <a:gd name="connsiteY67" fmla="*/ 2946 h 10000"/>
              <a:gd name="connsiteX68" fmla="*/ 797 w 10000"/>
              <a:gd name="connsiteY68" fmla="*/ 2849 h 10000"/>
              <a:gd name="connsiteX69" fmla="*/ 680 w 10000"/>
              <a:gd name="connsiteY69" fmla="*/ 2742 h 10000"/>
              <a:gd name="connsiteX70" fmla="*/ 680 w 10000"/>
              <a:gd name="connsiteY70" fmla="*/ 2742 h 10000"/>
              <a:gd name="connsiteX71" fmla="*/ 590 w 10000"/>
              <a:gd name="connsiteY71" fmla="*/ 2649 h 10000"/>
              <a:gd name="connsiteX72" fmla="*/ 504 w 10000"/>
              <a:gd name="connsiteY72" fmla="*/ 2557 h 10000"/>
              <a:gd name="connsiteX73" fmla="*/ 423 w 10000"/>
              <a:gd name="connsiteY73" fmla="*/ 2459 h 10000"/>
              <a:gd name="connsiteX74" fmla="*/ 356 w 10000"/>
              <a:gd name="connsiteY74" fmla="*/ 2362 h 10000"/>
              <a:gd name="connsiteX75" fmla="*/ 288 w 10000"/>
              <a:gd name="connsiteY75" fmla="*/ 2260 h 10000"/>
              <a:gd name="connsiteX76" fmla="*/ 230 w 10000"/>
              <a:gd name="connsiteY76" fmla="*/ 2154 h 10000"/>
              <a:gd name="connsiteX77" fmla="*/ 180 w 10000"/>
              <a:gd name="connsiteY77" fmla="*/ 2047 h 10000"/>
              <a:gd name="connsiteX78" fmla="*/ 131 w 10000"/>
              <a:gd name="connsiteY78" fmla="*/ 1941 h 10000"/>
              <a:gd name="connsiteX79" fmla="*/ 95 w 10000"/>
              <a:gd name="connsiteY79" fmla="*/ 1830 h 10000"/>
              <a:gd name="connsiteX80" fmla="*/ 63 w 10000"/>
              <a:gd name="connsiteY80" fmla="*/ 1714 h 10000"/>
              <a:gd name="connsiteX81" fmla="*/ 36 w 10000"/>
              <a:gd name="connsiteY81" fmla="*/ 1593 h 10000"/>
              <a:gd name="connsiteX82" fmla="*/ 18 w 10000"/>
              <a:gd name="connsiteY82" fmla="*/ 1473 h 10000"/>
              <a:gd name="connsiteX83" fmla="*/ 5 w 10000"/>
              <a:gd name="connsiteY83" fmla="*/ 1352 h 10000"/>
              <a:gd name="connsiteX84" fmla="*/ 0 w 10000"/>
              <a:gd name="connsiteY84" fmla="*/ 1227 h 10000"/>
              <a:gd name="connsiteX85" fmla="*/ 0 w 10000"/>
              <a:gd name="connsiteY85" fmla="*/ 1098 h 10000"/>
              <a:gd name="connsiteX86" fmla="*/ 9 w 10000"/>
              <a:gd name="connsiteY86" fmla="*/ 968 h 10000"/>
              <a:gd name="connsiteX87" fmla="*/ 9 w 10000"/>
              <a:gd name="connsiteY87" fmla="*/ 968 h 10000"/>
              <a:gd name="connsiteX88" fmla="*/ 23 w 10000"/>
              <a:gd name="connsiteY88" fmla="*/ 848 h 10000"/>
              <a:gd name="connsiteX89" fmla="*/ 41 w 10000"/>
              <a:gd name="connsiteY89" fmla="*/ 727 h 10000"/>
              <a:gd name="connsiteX90" fmla="*/ 68 w 10000"/>
              <a:gd name="connsiteY90" fmla="*/ 607 h 10000"/>
              <a:gd name="connsiteX91" fmla="*/ 95 w 10000"/>
              <a:gd name="connsiteY91" fmla="*/ 491 h 10000"/>
              <a:gd name="connsiteX92" fmla="*/ 131 w 10000"/>
              <a:gd name="connsiteY92" fmla="*/ 375 h 10000"/>
              <a:gd name="connsiteX93" fmla="*/ 171 w 10000"/>
              <a:gd name="connsiteY93" fmla="*/ 259 h 10000"/>
              <a:gd name="connsiteX94" fmla="*/ 212 w 10000"/>
              <a:gd name="connsiteY94" fmla="*/ 148 h 10000"/>
              <a:gd name="connsiteX95" fmla="*/ 266 w 10000"/>
              <a:gd name="connsiteY95" fmla="*/ 37 h 10000"/>
              <a:gd name="connsiteX96" fmla="*/ 266 w 10000"/>
              <a:gd name="connsiteY96" fmla="*/ 37 h 10000"/>
              <a:gd name="connsiteX97" fmla="*/ 275 w 10000"/>
              <a:gd name="connsiteY97" fmla="*/ 0 h 10000"/>
              <a:gd name="connsiteX98" fmla="*/ 275 w 10000"/>
              <a:gd name="connsiteY98"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9734 w 10000"/>
              <a:gd name="connsiteY5" fmla="*/ 10000 h 10000"/>
              <a:gd name="connsiteX6" fmla="*/ 7052 w 10000"/>
              <a:gd name="connsiteY6" fmla="*/ 8902 h 10000"/>
              <a:gd name="connsiteX7" fmla="*/ 6805 w 10000"/>
              <a:gd name="connsiteY7" fmla="*/ 8736 h 10000"/>
              <a:gd name="connsiteX8" fmla="*/ 6562 w 10000"/>
              <a:gd name="connsiteY8" fmla="*/ 8564 h 10000"/>
              <a:gd name="connsiteX9" fmla="*/ 6319 w 10000"/>
              <a:gd name="connsiteY9" fmla="*/ 8388 h 10000"/>
              <a:gd name="connsiteX10" fmla="*/ 6085 w 10000"/>
              <a:gd name="connsiteY10" fmla="*/ 8208 h 10000"/>
              <a:gd name="connsiteX11" fmla="*/ 5851 w 10000"/>
              <a:gd name="connsiteY11" fmla="*/ 8022 h 10000"/>
              <a:gd name="connsiteX12" fmla="*/ 5621 w 10000"/>
              <a:gd name="connsiteY12" fmla="*/ 7832 h 10000"/>
              <a:gd name="connsiteX13" fmla="*/ 5392 w 10000"/>
              <a:gd name="connsiteY13" fmla="*/ 7642 h 10000"/>
              <a:gd name="connsiteX14" fmla="*/ 5167 w 10000"/>
              <a:gd name="connsiteY14" fmla="*/ 7443 h 10000"/>
              <a:gd name="connsiteX15" fmla="*/ 5167 w 10000"/>
              <a:gd name="connsiteY15" fmla="*/ 7443 h 10000"/>
              <a:gd name="connsiteX16" fmla="*/ 4905 w 10000"/>
              <a:gd name="connsiteY16" fmla="*/ 7216 h 10000"/>
              <a:gd name="connsiteX17" fmla="*/ 4905 w 10000"/>
              <a:gd name="connsiteY17" fmla="*/ 7216 h 10000"/>
              <a:gd name="connsiteX18" fmla="*/ 4995 w 10000"/>
              <a:gd name="connsiteY18" fmla="*/ 7040 h 10000"/>
              <a:gd name="connsiteX19" fmla="*/ 5077 w 10000"/>
              <a:gd name="connsiteY19" fmla="*/ 6864 h 10000"/>
              <a:gd name="connsiteX20" fmla="*/ 5077 w 10000"/>
              <a:gd name="connsiteY20" fmla="*/ 6864 h 10000"/>
              <a:gd name="connsiteX21" fmla="*/ 5113 w 10000"/>
              <a:gd name="connsiteY21" fmla="*/ 6781 h 10000"/>
              <a:gd name="connsiteX22" fmla="*/ 5144 w 10000"/>
              <a:gd name="connsiteY22" fmla="*/ 6693 h 10000"/>
              <a:gd name="connsiteX23" fmla="*/ 5176 w 10000"/>
              <a:gd name="connsiteY23" fmla="*/ 6605 h 10000"/>
              <a:gd name="connsiteX24" fmla="*/ 5203 w 10000"/>
              <a:gd name="connsiteY24" fmla="*/ 6517 h 10000"/>
              <a:gd name="connsiteX25" fmla="*/ 5225 w 10000"/>
              <a:gd name="connsiteY25" fmla="*/ 6424 h 10000"/>
              <a:gd name="connsiteX26" fmla="*/ 5243 w 10000"/>
              <a:gd name="connsiteY26" fmla="*/ 6336 h 10000"/>
              <a:gd name="connsiteX27" fmla="*/ 5252 w 10000"/>
              <a:gd name="connsiteY27" fmla="*/ 6244 h 10000"/>
              <a:gd name="connsiteX28" fmla="*/ 5261 w 10000"/>
              <a:gd name="connsiteY28" fmla="*/ 6146 h 10000"/>
              <a:gd name="connsiteX29" fmla="*/ 5261 w 10000"/>
              <a:gd name="connsiteY29" fmla="*/ 6146 h 10000"/>
              <a:gd name="connsiteX30" fmla="*/ 5266 w 10000"/>
              <a:gd name="connsiteY30" fmla="*/ 6040 h 10000"/>
              <a:gd name="connsiteX31" fmla="*/ 5257 w 10000"/>
              <a:gd name="connsiteY31" fmla="*/ 5933 h 10000"/>
              <a:gd name="connsiteX32" fmla="*/ 5243 w 10000"/>
              <a:gd name="connsiteY32" fmla="*/ 5831 h 10000"/>
              <a:gd name="connsiteX33" fmla="*/ 5221 w 10000"/>
              <a:gd name="connsiteY33" fmla="*/ 5730 h 10000"/>
              <a:gd name="connsiteX34" fmla="*/ 5189 w 10000"/>
              <a:gd name="connsiteY34" fmla="*/ 5632 h 10000"/>
              <a:gd name="connsiteX35" fmla="*/ 5149 w 10000"/>
              <a:gd name="connsiteY35" fmla="*/ 5535 h 10000"/>
              <a:gd name="connsiteX36" fmla="*/ 5099 w 10000"/>
              <a:gd name="connsiteY36" fmla="*/ 5442 h 10000"/>
              <a:gd name="connsiteX37" fmla="*/ 5045 w 10000"/>
              <a:gd name="connsiteY37" fmla="*/ 5350 h 10000"/>
              <a:gd name="connsiteX38" fmla="*/ 5045 w 10000"/>
              <a:gd name="connsiteY38" fmla="*/ 5350 h 10000"/>
              <a:gd name="connsiteX39" fmla="*/ 4986 w 10000"/>
              <a:gd name="connsiteY39" fmla="*/ 5266 h 10000"/>
              <a:gd name="connsiteX40" fmla="*/ 4923 w 10000"/>
              <a:gd name="connsiteY40" fmla="*/ 5183 h 10000"/>
              <a:gd name="connsiteX41" fmla="*/ 4856 w 10000"/>
              <a:gd name="connsiteY41" fmla="*/ 5109 h 10000"/>
              <a:gd name="connsiteX42" fmla="*/ 4784 w 10000"/>
              <a:gd name="connsiteY42" fmla="*/ 5035 h 10000"/>
              <a:gd name="connsiteX43" fmla="*/ 4707 w 10000"/>
              <a:gd name="connsiteY43" fmla="*/ 4965 h 10000"/>
              <a:gd name="connsiteX44" fmla="*/ 4631 w 10000"/>
              <a:gd name="connsiteY44" fmla="*/ 4900 h 10000"/>
              <a:gd name="connsiteX45" fmla="*/ 4550 w 10000"/>
              <a:gd name="connsiteY45" fmla="*/ 4836 h 10000"/>
              <a:gd name="connsiteX46" fmla="*/ 4469 w 10000"/>
              <a:gd name="connsiteY46" fmla="*/ 4775 h 10000"/>
              <a:gd name="connsiteX47" fmla="*/ 4469 w 10000"/>
              <a:gd name="connsiteY47" fmla="*/ 4775 h 10000"/>
              <a:gd name="connsiteX48" fmla="*/ 4347 w 10000"/>
              <a:gd name="connsiteY48" fmla="*/ 4687 h 10000"/>
              <a:gd name="connsiteX49" fmla="*/ 4226 w 10000"/>
              <a:gd name="connsiteY49" fmla="*/ 4609 h 10000"/>
              <a:gd name="connsiteX50" fmla="*/ 4104 w 10000"/>
              <a:gd name="connsiteY50" fmla="*/ 4530 h 10000"/>
              <a:gd name="connsiteX51" fmla="*/ 3978 w 10000"/>
              <a:gd name="connsiteY51" fmla="*/ 4456 h 10000"/>
              <a:gd name="connsiteX52" fmla="*/ 3852 w 10000"/>
              <a:gd name="connsiteY52" fmla="*/ 4386 h 10000"/>
              <a:gd name="connsiteX53" fmla="*/ 3722 w 10000"/>
              <a:gd name="connsiteY53" fmla="*/ 4317 h 10000"/>
              <a:gd name="connsiteX54" fmla="*/ 3591 w 10000"/>
              <a:gd name="connsiteY54" fmla="*/ 4252 h 10000"/>
              <a:gd name="connsiteX55" fmla="*/ 3461 w 10000"/>
              <a:gd name="connsiteY55" fmla="*/ 4187 h 10000"/>
              <a:gd name="connsiteX56" fmla="*/ 3461 w 10000"/>
              <a:gd name="connsiteY56" fmla="*/ 4187 h 10000"/>
              <a:gd name="connsiteX57" fmla="*/ 3029 w 10000"/>
              <a:gd name="connsiteY57" fmla="*/ 3993 h 10000"/>
              <a:gd name="connsiteX58" fmla="*/ 2601 w 10000"/>
              <a:gd name="connsiteY58" fmla="*/ 3798 h 10000"/>
              <a:gd name="connsiteX59" fmla="*/ 1742 w 10000"/>
              <a:gd name="connsiteY59" fmla="*/ 3414 h 10000"/>
              <a:gd name="connsiteX60" fmla="*/ 1742 w 10000"/>
              <a:gd name="connsiteY60" fmla="*/ 3414 h 10000"/>
              <a:gd name="connsiteX61" fmla="*/ 1598 w 10000"/>
              <a:gd name="connsiteY61" fmla="*/ 3349 h 10000"/>
              <a:gd name="connsiteX62" fmla="*/ 1454 w 10000"/>
              <a:gd name="connsiteY62" fmla="*/ 3279 h 10000"/>
              <a:gd name="connsiteX63" fmla="*/ 1314 w 10000"/>
              <a:gd name="connsiteY63" fmla="*/ 3205 h 10000"/>
              <a:gd name="connsiteX64" fmla="*/ 1179 w 10000"/>
              <a:gd name="connsiteY64" fmla="*/ 3126 h 10000"/>
              <a:gd name="connsiteX65" fmla="*/ 1049 w 10000"/>
              <a:gd name="connsiteY65" fmla="*/ 3038 h 10000"/>
              <a:gd name="connsiteX66" fmla="*/ 923 w 10000"/>
              <a:gd name="connsiteY66" fmla="*/ 2946 h 10000"/>
              <a:gd name="connsiteX67" fmla="*/ 797 w 10000"/>
              <a:gd name="connsiteY67" fmla="*/ 2849 h 10000"/>
              <a:gd name="connsiteX68" fmla="*/ 680 w 10000"/>
              <a:gd name="connsiteY68" fmla="*/ 2742 h 10000"/>
              <a:gd name="connsiteX69" fmla="*/ 680 w 10000"/>
              <a:gd name="connsiteY69" fmla="*/ 2742 h 10000"/>
              <a:gd name="connsiteX70" fmla="*/ 590 w 10000"/>
              <a:gd name="connsiteY70" fmla="*/ 2649 h 10000"/>
              <a:gd name="connsiteX71" fmla="*/ 504 w 10000"/>
              <a:gd name="connsiteY71" fmla="*/ 2557 h 10000"/>
              <a:gd name="connsiteX72" fmla="*/ 423 w 10000"/>
              <a:gd name="connsiteY72" fmla="*/ 2459 h 10000"/>
              <a:gd name="connsiteX73" fmla="*/ 356 w 10000"/>
              <a:gd name="connsiteY73" fmla="*/ 2362 h 10000"/>
              <a:gd name="connsiteX74" fmla="*/ 288 w 10000"/>
              <a:gd name="connsiteY74" fmla="*/ 2260 h 10000"/>
              <a:gd name="connsiteX75" fmla="*/ 230 w 10000"/>
              <a:gd name="connsiteY75" fmla="*/ 2154 h 10000"/>
              <a:gd name="connsiteX76" fmla="*/ 180 w 10000"/>
              <a:gd name="connsiteY76" fmla="*/ 2047 h 10000"/>
              <a:gd name="connsiteX77" fmla="*/ 131 w 10000"/>
              <a:gd name="connsiteY77" fmla="*/ 1941 h 10000"/>
              <a:gd name="connsiteX78" fmla="*/ 95 w 10000"/>
              <a:gd name="connsiteY78" fmla="*/ 1830 h 10000"/>
              <a:gd name="connsiteX79" fmla="*/ 63 w 10000"/>
              <a:gd name="connsiteY79" fmla="*/ 1714 h 10000"/>
              <a:gd name="connsiteX80" fmla="*/ 36 w 10000"/>
              <a:gd name="connsiteY80" fmla="*/ 1593 h 10000"/>
              <a:gd name="connsiteX81" fmla="*/ 18 w 10000"/>
              <a:gd name="connsiteY81" fmla="*/ 1473 h 10000"/>
              <a:gd name="connsiteX82" fmla="*/ 5 w 10000"/>
              <a:gd name="connsiteY82" fmla="*/ 1352 h 10000"/>
              <a:gd name="connsiteX83" fmla="*/ 0 w 10000"/>
              <a:gd name="connsiteY83" fmla="*/ 1227 h 10000"/>
              <a:gd name="connsiteX84" fmla="*/ 0 w 10000"/>
              <a:gd name="connsiteY84" fmla="*/ 1098 h 10000"/>
              <a:gd name="connsiteX85" fmla="*/ 9 w 10000"/>
              <a:gd name="connsiteY85" fmla="*/ 968 h 10000"/>
              <a:gd name="connsiteX86" fmla="*/ 9 w 10000"/>
              <a:gd name="connsiteY86" fmla="*/ 968 h 10000"/>
              <a:gd name="connsiteX87" fmla="*/ 23 w 10000"/>
              <a:gd name="connsiteY87" fmla="*/ 848 h 10000"/>
              <a:gd name="connsiteX88" fmla="*/ 41 w 10000"/>
              <a:gd name="connsiteY88" fmla="*/ 727 h 10000"/>
              <a:gd name="connsiteX89" fmla="*/ 68 w 10000"/>
              <a:gd name="connsiteY89" fmla="*/ 607 h 10000"/>
              <a:gd name="connsiteX90" fmla="*/ 95 w 10000"/>
              <a:gd name="connsiteY90" fmla="*/ 491 h 10000"/>
              <a:gd name="connsiteX91" fmla="*/ 131 w 10000"/>
              <a:gd name="connsiteY91" fmla="*/ 375 h 10000"/>
              <a:gd name="connsiteX92" fmla="*/ 171 w 10000"/>
              <a:gd name="connsiteY92" fmla="*/ 259 h 10000"/>
              <a:gd name="connsiteX93" fmla="*/ 212 w 10000"/>
              <a:gd name="connsiteY93" fmla="*/ 148 h 10000"/>
              <a:gd name="connsiteX94" fmla="*/ 266 w 10000"/>
              <a:gd name="connsiteY94" fmla="*/ 37 h 10000"/>
              <a:gd name="connsiteX95" fmla="*/ 266 w 10000"/>
              <a:gd name="connsiteY95" fmla="*/ 37 h 10000"/>
              <a:gd name="connsiteX96" fmla="*/ 275 w 10000"/>
              <a:gd name="connsiteY96" fmla="*/ 0 h 10000"/>
              <a:gd name="connsiteX97" fmla="*/ 275 w 10000"/>
              <a:gd name="connsiteY97"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9734 w 10000"/>
              <a:gd name="connsiteY4" fmla="*/ 10000 h 10000"/>
              <a:gd name="connsiteX5" fmla="*/ 7052 w 10000"/>
              <a:gd name="connsiteY5" fmla="*/ 8902 h 10000"/>
              <a:gd name="connsiteX6" fmla="*/ 6805 w 10000"/>
              <a:gd name="connsiteY6" fmla="*/ 8736 h 10000"/>
              <a:gd name="connsiteX7" fmla="*/ 6562 w 10000"/>
              <a:gd name="connsiteY7" fmla="*/ 8564 h 10000"/>
              <a:gd name="connsiteX8" fmla="*/ 6319 w 10000"/>
              <a:gd name="connsiteY8" fmla="*/ 8388 h 10000"/>
              <a:gd name="connsiteX9" fmla="*/ 6085 w 10000"/>
              <a:gd name="connsiteY9" fmla="*/ 8208 h 10000"/>
              <a:gd name="connsiteX10" fmla="*/ 5851 w 10000"/>
              <a:gd name="connsiteY10" fmla="*/ 8022 h 10000"/>
              <a:gd name="connsiteX11" fmla="*/ 5621 w 10000"/>
              <a:gd name="connsiteY11" fmla="*/ 7832 h 10000"/>
              <a:gd name="connsiteX12" fmla="*/ 5392 w 10000"/>
              <a:gd name="connsiteY12" fmla="*/ 7642 h 10000"/>
              <a:gd name="connsiteX13" fmla="*/ 5167 w 10000"/>
              <a:gd name="connsiteY13" fmla="*/ 7443 h 10000"/>
              <a:gd name="connsiteX14" fmla="*/ 5167 w 10000"/>
              <a:gd name="connsiteY14" fmla="*/ 7443 h 10000"/>
              <a:gd name="connsiteX15" fmla="*/ 4905 w 10000"/>
              <a:gd name="connsiteY15" fmla="*/ 7216 h 10000"/>
              <a:gd name="connsiteX16" fmla="*/ 4905 w 10000"/>
              <a:gd name="connsiteY16" fmla="*/ 7216 h 10000"/>
              <a:gd name="connsiteX17" fmla="*/ 4995 w 10000"/>
              <a:gd name="connsiteY17" fmla="*/ 7040 h 10000"/>
              <a:gd name="connsiteX18" fmla="*/ 5077 w 10000"/>
              <a:gd name="connsiteY18" fmla="*/ 6864 h 10000"/>
              <a:gd name="connsiteX19" fmla="*/ 5077 w 10000"/>
              <a:gd name="connsiteY19" fmla="*/ 6864 h 10000"/>
              <a:gd name="connsiteX20" fmla="*/ 5113 w 10000"/>
              <a:gd name="connsiteY20" fmla="*/ 6781 h 10000"/>
              <a:gd name="connsiteX21" fmla="*/ 5144 w 10000"/>
              <a:gd name="connsiteY21" fmla="*/ 6693 h 10000"/>
              <a:gd name="connsiteX22" fmla="*/ 5176 w 10000"/>
              <a:gd name="connsiteY22" fmla="*/ 6605 h 10000"/>
              <a:gd name="connsiteX23" fmla="*/ 5203 w 10000"/>
              <a:gd name="connsiteY23" fmla="*/ 6517 h 10000"/>
              <a:gd name="connsiteX24" fmla="*/ 5225 w 10000"/>
              <a:gd name="connsiteY24" fmla="*/ 6424 h 10000"/>
              <a:gd name="connsiteX25" fmla="*/ 5243 w 10000"/>
              <a:gd name="connsiteY25" fmla="*/ 6336 h 10000"/>
              <a:gd name="connsiteX26" fmla="*/ 5252 w 10000"/>
              <a:gd name="connsiteY26" fmla="*/ 6244 h 10000"/>
              <a:gd name="connsiteX27" fmla="*/ 5261 w 10000"/>
              <a:gd name="connsiteY27" fmla="*/ 6146 h 10000"/>
              <a:gd name="connsiteX28" fmla="*/ 5261 w 10000"/>
              <a:gd name="connsiteY28" fmla="*/ 6146 h 10000"/>
              <a:gd name="connsiteX29" fmla="*/ 5266 w 10000"/>
              <a:gd name="connsiteY29" fmla="*/ 6040 h 10000"/>
              <a:gd name="connsiteX30" fmla="*/ 5257 w 10000"/>
              <a:gd name="connsiteY30" fmla="*/ 5933 h 10000"/>
              <a:gd name="connsiteX31" fmla="*/ 5243 w 10000"/>
              <a:gd name="connsiteY31" fmla="*/ 5831 h 10000"/>
              <a:gd name="connsiteX32" fmla="*/ 5221 w 10000"/>
              <a:gd name="connsiteY32" fmla="*/ 5730 h 10000"/>
              <a:gd name="connsiteX33" fmla="*/ 5189 w 10000"/>
              <a:gd name="connsiteY33" fmla="*/ 5632 h 10000"/>
              <a:gd name="connsiteX34" fmla="*/ 5149 w 10000"/>
              <a:gd name="connsiteY34" fmla="*/ 5535 h 10000"/>
              <a:gd name="connsiteX35" fmla="*/ 5099 w 10000"/>
              <a:gd name="connsiteY35" fmla="*/ 5442 h 10000"/>
              <a:gd name="connsiteX36" fmla="*/ 5045 w 10000"/>
              <a:gd name="connsiteY36" fmla="*/ 5350 h 10000"/>
              <a:gd name="connsiteX37" fmla="*/ 5045 w 10000"/>
              <a:gd name="connsiteY37" fmla="*/ 5350 h 10000"/>
              <a:gd name="connsiteX38" fmla="*/ 4986 w 10000"/>
              <a:gd name="connsiteY38" fmla="*/ 5266 h 10000"/>
              <a:gd name="connsiteX39" fmla="*/ 4923 w 10000"/>
              <a:gd name="connsiteY39" fmla="*/ 5183 h 10000"/>
              <a:gd name="connsiteX40" fmla="*/ 4856 w 10000"/>
              <a:gd name="connsiteY40" fmla="*/ 5109 h 10000"/>
              <a:gd name="connsiteX41" fmla="*/ 4784 w 10000"/>
              <a:gd name="connsiteY41" fmla="*/ 5035 h 10000"/>
              <a:gd name="connsiteX42" fmla="*/ 4707 w 10000"/>
              <a:gd name="connsiteY42" fmla="*/ 4965 h 10000"/>
              <a:gd name="connsiteX43" fmla="*/ 4631 w 10000"/>
              <a:gd name="connsiteY43" fmla="*/ 4900 h 10000"/>
              <a:gd name="connsiteX44" fmla="*/ 4550 w 10000"/>
              <a:gd name="connsiteY44" fmla="*/ 4836 h 10000"/>
              <a:gd name="connsiteX45" fmla="*/ 4469 w 10000"/>
              <a:gd name="connsiteY45" fmla="*/ 4775 h 10000"/>
              <a:gd name="connsiteX46" fmla="*/ 4469 w 10000"/>
              <a:gd name="connsiteY46" fmla="*/ 4775 h 10000"/>
              <a:gd name="connsiteX47" fmla="*/ 4347 w 10000"/>
              <a:gd name="connsiteY47" fmla="*/ 4687 h 10000"/>
              <a:gd name="connsiteX48" fmla="*/ 4226 w 10000"/>
              <a:gd name="connsiteY48" fmla="*/ 4609 h 10000"/>
              <a:gd name="connsiteX49" fmla="*/ 4104 w 10000"/>
              <a:gd name="connsiteY49" fmla="*/ 4530 h 10000"/>
              <a:gd name="connsiteX50" fmla="*/ 3978 w 10000"/>
              <a:gd name="connsiteY50" fmla="*/ 4456 h 10000"/>
              <a:gd name="connsiteX51" fmla="*/ 3852 w 10000"/>
              <a:gd name="connsiteY51" fmla="*/ 4386 h 10000"/>
              <a:gd name="connsiteX52" fmla="*/ 3722 w 10000"/>
              <a:gd name="connsiteY52" fmla="*/ 4317 h 10000"/>
              <a:gd name="connsiteX53" fmla="*/ 3591 w 10000"/>
              <a:gd name="connsiteY53" fmla="*/ 4252 h 10000"/>
              <a:gd name="connsiteX54" fmla="*/ 3461 w 10000"/>
              <a:gd name="connsiteY54" fmla="*/ 4187 h 10000"/>
              <a:gd name="connsiteX55" fmla="*/ 3461 w 10000"/>
              <a:gd name="connsiteY55" fmla="*/ 4187 h 10000"/>
              <a:gd name="connsiteX56" fmla="*/ 3029 w 10000"/>
              <a:gd name="connsiteY56" fmla="*/ 3993 h 10000"/>
              <a:gd name="connsiteX57" fmla="*/ 2601 w 10000"/>
              <a:gd name="connsiteY57" fmla="*/ 3798 h 10000"/>
              <a:gd name="connsiteX58" fmla="*/ 1742 w 10000"/>
              <a:gd name="connsiteY58" fmla="*/ 3414 h 10000"/>
              <a:gd name="connsiteX59" fmla="*/ 1742 w 10000"/>
              <a:gd name="connsiteY59" fmla="*/ 3414 h 10000"/>
              <a:gd name="connsiteX60" fmla="*/ 1598 w 10000"/>
              <a:gd name="connsiteY60" fmla="*/ 3349 h 10000"/>
              <a:gd name="connsiteX61" fmla="*/ 1454 w 10000"/>
              <a:gd name="connsiteY61" fmla="*/ 3279 h 10000"/>
              <a:gd name="connsiteX62" fmla="*/ 1314 w 10000"/>
              <a:gd name="connsiteY62" fmla="*/ 3205 h 10000"/>
              <a:gd name="connsiteX63" fmla="*/ 1179 w 10000"/>
              <a:gd name="connsiteY63" fmla="*/ 3126 h 10000"/>
              <a:gd name="connsiteX64" fmla="*/ 1049 w 10000"/>
              <a:gd name="connsiteY64" fmla="*/ 3038 h 10000"/>
              <a:gd name="connsiteX65" fmla="*/ 923 w 10000"/>
              <a:gd name="connsiteY65" fmla="*/ 2946 h 10000"/>
              <a:gd name="connsiteX66" fmla="*/ 797 w 10000"/>
              <a:gd name="connsiteY66" fmla="*/ 2849 h 10000"/>
              <a:gd name="connsiteX67" fmla="*/ 680 w 10000"/>
              <a:gd name="connsiteY67" fmla="*/ 2742 h 10000"/>
              <a:gd name="connsiteX68" fmla="*/ 680 w 10000"/>
              <a:gd name="connsiteY68" fmla="*/ 2742 h 10000"/>
              <a:gd name="connsiteX69" fmla="*/ 590 w 10000"/>
              <a:gd name="connsiteY69" fmla="*/ 2649 h 10000"/>
              <a:gd name="connsiteX70" fmla="*/ 504 w 10000"/>
              <a:gd name="connsiteY70" fmla="*/ 2557 h 10000"/>
              <a:gd name="connsiteX71" fmla="*/ 423 w 10000"/>
              <a:gd name="connsiteY71" fmla="*/ 2459 h 10000"/>
              <a:gd name="connsiteX72" fmla="*/ 356 w 10000"/>
              <a:gd name="connsiteY72" fmla="*/ 2362 h 10000"/>
              <a:gd name="connsiteX73" fmla="*/ 288 w 10000"/>
              <a:gd name="connsiteY73" fmla="*/ 2260 h 10000"/>
              <a:gd name="connsiteX74" fmla="*/ 230 w 10000"/>
              <a:gd name="connsiteY74" fmla="*/ 2154 h 10000"/>
              <a:gd name="connsiteX75" fmla="*/ 180 w 10000"/>
              <a:gd name="connsiteY75" fmla="*/ 2047 h 10000"/>
              <a:gd name="connsiteX76" fmla="*/ 131 w 10000"/>
              <a:gd name="connsiteY76" fmla="*/ 1941 h 10000"/>
              <a:gd name="connsiteX77" fmla="*/ 95 w 10000"/>
              <a:gd name="connsiteY77" fmla="*/ 1830 h 10000"/>
              <a:gd name="connsiteX78" fmla="*/ 63 w 10000"/>
              <a:gd name="connsiteY78" fmla="*/ 1714 h 10000"/>
              <a:gd name="connsiteX79" fmla="*/ 36 w 10000"/>
              <a:gd name="connsiteY79" fmla="*/ 1593 h 10000"/>
              <a:gd name="connsiteX80" fmla="*/ 18 w 10000"/>
              <a:gd name="connsiteY80" fmla="*/ 1473 h 10000"/>
              <a:gd name="connsiteX81" fmla="*/ 5 w 10000"/>
              <a:gd name="connsiteY81" fmla="*/ 1352 h 10000"/>
              <a:gd name="connsiteX82" fmla="*/ 0 w 10000"/>
              <a:gd name="connsiteY82" fmla="*/ 1227 h 10000"/>
              <a:gd name="connsiteX83" fmla="*/ 0 w 10000"/>
              <a:gd name="connsiteY83" fmla="*/ 1098 h 10000"/>
              <a:gd name="connsiteX84" fmla="*/ 9 w 10000"/>
              <a:gd name="connsiteY84" fmla="*/ 968 h 10000"/>
              <a:gd name="connsiteX85" fmla="*/ 9 w 10000"/>
              <a:gd name="connsiteY85" fmla="*/ 968 h 10000"/>
              <a:gd name="connsiteX86" fmla="*/ 23 w 10000"/>
              <a:gd name="connsiteY86" fmla="*/ 848 h 10000"/>
              <a:gd name="connsiteX87" fmla="*/ 41 w 10000"/>
              <a:gd name="connsiteY87" fmla="*/ 727 h 10000"/>
              <a:gd name="connsiteX88" fmla="*/ 68 w 10000"/>
              <a:gd name="connsiteY88" fmla="*/ 607 h 10000"/>
              <a:gd name="connsiteX89" fmla="*/ 95 w 10000"/>
              <a:gd name="connsiteY89" fmla="*/ 491 h 10000"/>
              <a:gd name="connsiteX90" fmla="*/ 131 w 10000"/>
              <a:gd name="connsiteY90" fmla="*/ 375 h 10000"/>
              <a:gd name="connsiteX91" fmla="*/ 171 w 10000"/>
              <a:gd name="connsiteY91" fmla="*/ 259 h 10000"/>
              <a:gd name="connsiteX92" fmla="*/ 212 w 10000"/>
              <a:gd name="connsiteY92" fmla="*/ 148 h 10000"/>
              <a:gd name="connsiteX93" fmla="*/ 266 w 10000"/>
              <a:gd name="connsiteY93" fmla="*/ 37 h 10000"/>
              <a:gd name="connsiteX94" fmla="*/ 266 w 10000"/>
              <a:gd name="connsiteY94" fmla="*/ 37 h 10000"/>
              <a:gd name="connsiteX95" fmla="*/ 275 w 10000"/>
              <a:gd name="connsiteY95" fmla="*/ 0 h 10000"/>
              <a:gd name="connsiteX96" fmla="*/ 275 w 10000"/>
              <a:gd name="connsiteY96" fmla="*/ 0 h 10000"/>
              <a:gd name="connsiteX0" fmla="*/ 275 w 9734"/>
              <a:gd name="connsiteY0" fmla="*/ 0 h 10000"/>
              <a:gd name="connsiteX1" fmla="*/ 275 w 9734"/>
              <a:gd name="connsiteY1" fmla="*/ 0 h 10000"/>
              <a:gd name="connsiteX2" fmla="*/ 6380 w 9734"/>
              <a:gd name="connsiteY2" fmla="*/ 0 h 10000"/>
              <a:gd name="connsiteX3" fmla="*/ 9734 w 9734"/>
              <a:gd name="connsiteY3" fmla="*/ 10000 h 10000"/>
              <a:gd name="connsiteX4" fmla="*/ 7052 w 9734"/>
              <a:gd name="connsiteY4" fmla="*/ 8902 h 10000"/>
              <a:gd name="connsiteX5" fmla="*/ 6805 w 9734"/>
              <a:gd name="connsiteY5" fmla="*/ 8736 h 10000"/>
              <a:gd name="connsiteX6" fmla="*/ 6562 w 9734"/>
              <a:gd name="connsiteY6" fmla="*/ 8564 h 10000"/>
              <a:gd name="connsiteX7" fmla="*/ 6319 w 9734"/>
              <a:gd name="connsiteY7" fmla="*/ 8388 h 10000"/>
              <a:gd name="connsiteX8" fmla="*/ 6085 w 9734"/>
              <a:gd name="connsiteY8" fmla="*/ 8208 h 10000"/>
              <a:gd name="connsiteX9" fmla="*/ 5851 w 9734"/>
              <a:gd name="connsiteY9" fmla="*/ 8022 h 10000"/>
              <a:gd name="connsiteX10" fmla="*/ 5621 w 9734"/>
              <a:gd name="connsiteY10" fmla="*/ 7832 h 10000"/>
              <a:gd name="connsiteX11" fmla="*/ 5392 w 9734"/>
              <a:gd name="connsiteY11" fmla="*/ 7642 h 10000"/>
              <a:gd name="connsiteX12" fmla="*/ 5167 w 9734"/>
              <a:gd name="connsiteY12" fmla="*/ 7443 h 10000"/>
              <a:gd name="connsiteX13" fmla="*/ 5167 w 9734"/>
              <a:gd name="connsiteY13" fmla="*/ 7443 h 10000"/>
              <a:gd name="connsiteX14" fmla="*/ 4905 w 9734"/>
              <a:gd name="connsiteY14" fmla="*/ 7216 h 10000"/>
              <a:gd name="connsiteX15" fmla="*/ 4905 w 9734"/>
              <a:gd name="connsiteY15" fmla="*/ 7216 h 10000"/>
              <a:gd name="connsiteX16" fmla="*/ 4995 w 9734"/>
              <a:gd name="connsiteY16" fmla="*/ 7040 h 10000"/>
              <a:gd name="connsiteX17" fmla="*/ 5077 w 9734"/>
              <a:gd name="connsiteY17" fmla="*/ 6864 h 10000"/>
              <a:gd name="connsiteX18" fmla="*/ 5077 w 9734"/>
              <a:gd name="connsiteY18" fmla="*/ 6864 h 10000"/>
              <a:gd name="connsiteX19" fmla="*/ 5113 w 9734"/>
              <a:gd name="connsiteY19" fmla="*/ 6781 h 10000"/>
              <a:gd name="connsiteX20" fmla="*/ 5144 w 9734"/>
              <a:gd name="connsiteY20" fmla="*/ 6693 h 10000"/>
              <a:gd name="connsiteX21" fmla="*/ 5176 w 9734"/>
              <a:gd name="connsiteY21" fmla="*/ 6605 h 10000"/>
              <a:gd name="connsiteX22" fmla="*/ 5203 w 9734"/>
              <a:gd name="connsiteY22" fmla="*/ 6517 h 10000"/>
              <a:gd name="connsiteX23" fmla="*/ 5225 w 9734"/>
              <a:gd name="connsiteY23" fmla="*/ 6424 h 10000"/>
              <a:gd name="connsiteX24" fmla="*/ 5243 w 9734"/>
              <a:gd name="connsiteY24" fmla="*/ 6336 h 10000"/>
              <a:gd name="connsiteX25" fmla="*/ 5252 w 9734"/>
              <a:gd name="connsiteY25" fmla="*/ 6244 h 10000"/>
              <a:gd name="connsiteX26" fmla="*/ 5261 w 9734"/>
              <a:gd name="connsiteY26" fmla="*/ 6146 h 10000"/>
              <a:gd name="connsiteX27" fmla="*/ 5261 w 9734"/>
              <a:gd name="connsiteY27" fmla="*/ 6146 h 10000"/>
              <a:gd name="connsiteX28" fmla="*/ 5266 w 9734"/>
              <a:gd name="connsiteY28" fmla="*/ 6040 h 10000"/>
              <a:gd name="connsiteX29" fmla="*/ 5257 w 9734"/>
              <a:gd name="connsiteY29" fmla="*/ 5933 h 10000"/>
              <a:gd name="connsiteX30" fmla="*/ 5243 w 9734"/>
              <a:gd name="connsiteY30" fmla="*/ 5831 h 10000"/>
              <a:gd name="connsiteX31" fmla="*/ 5221 w 9734"/>
              <a:gd name="connsiteY31" fmla="*/ 5730 h 10000"/>
              <a:gd name="connsiteX32" fmla="*/ 5189 w 9734"/>
              <a:gd name="connsiteY32" fmla="*/ 5632 h 10000"/>
              <a:gd name="connsiteX33" fmla="*/ 5149 w 9734"/>
              <a:gd name="connsiteY33" fmla="*/ 5535 h 10000"/>
              <a:gd name="connsiteX34" fmla="*/ 5099 w 9734"/>
              <a:gd name="connsiteY34" fmla="*/ 5442 h 10000"/>
              <a:gd name="connsiteX35" fmla="*/ 5045 w 9734"/>
              <a:gd name="connsiteY35" fmla="*/ 5350 h 10000"/>
              <a:gd name="connsiteX36" fmla="*/ 5045 w 9734"/>
              <a:gd name="connsiteY36" fmla="*/ 5350 h 10000"/>
              <a:gd name="connsiteX37" fmla="*/ 4986 w 9734"/>
              <a:gd name="connsiteY37" fmla="*/ 5266 h 10000"/>
              <a:gd name="connsiteX38" fmla="*/ 4923 w 9734"/>
              <a:gd name="connsiteY38" fmla="*/ 5183 h 10000"/>
              <a:gd name="connsiteX39" fmla="*/ 4856 w 9734"/>
              <a:gd name="connsiteY39" fmla="*/ 5109 h 10000"/>
              <a:gd name="connsiteX40" fmla="*/ 4784 w 9734"/>
              <a:gd name="connsiteY40" fmla="*/ 5035 h 10000"/>
              <a:gd name="connsiteX41" fmla="*/ 4707 w 9734"/>
              <a:gd name="connsiteY41" fmla="*/ 4965 h 10000"/>
              <a:gd name="connsiteX42" fmla="*/ 4631 w 9734"/>
              <a:gd name="connsiteY42" fmla="*/ 4900 h 10000"/>
              <a:gd name="connsiteX43" fmla="*/ 4550 w 9734"/>
              <a:gd name="connsiteY43" fmla="*/ 4836 h 10000"/>
              <a:gd name="connsiteX44" fmla="*/ 4469 w 9734"/>
              <a:gd name="connsiteY44" fmla="*/ 4775 h 10000"/>
              <a:gd name="connsiteX45" fmla="*/ 4469 w 9734"/>
              <a:gd name="connsiteY45" fmla="*/ 4775 h 10000"/>
              <a:gd name="connsiteX46" fmla="*/ 4347 w 9734"/>
              <a:gd name="connsiteY46" fmla="*/ 4687 h 10000"/>
              <a:gd name="connsiteX47" fmla="*/ 4226 w 9734"/>
              <a:gd name="connsiteY47" fmla="*/ 4609 h 10000"/>
              <a:gd name="connsiteX48" fmla="*/ 4104 w 9734"/>
              <a:gd name="connsiteY48" fmla="*/ 4530 h 10000"/>
              <a:gd name="connsiteX49" fmla="*/ 3978 w 9734"/>
              <a:gd name="connsiteY49" fmla="*/ 4456 h 10000"/>
              <a:gd name="connsiteX50" fmla="*/ 3852 w 9734"/>
              <a:gd name="connsiteY50" fmla="*/ 4386 h 10000"/>
              <a:gd name="connsiteX51" fmla="*/ 3722 w 9734"/>
              <a:gd name="connsiteY51" fmla="*/ 4317 h 10000"/>
              <a:gd name="connsiteX52" fmla="*/ 3591 w 9734"/>
              <a:gd name="connsiteY52" fmla="*/ 4252 h 10000"/>
              <a:gd name="connsiteX53" fmla="*/ 3461 w 9734"/>
              <a:gd name="connsiteY53" fmla="*/ 4187 h 10000"/>
              <a:gd name="connsiteX54" fmla="*/ 3461 w 9734"/>
              <a:gd name="connsiteY54" fmla="*/ 4187 h 10000"/>
              <a:gd name="connsiteX55" fmla="*/ 3029 w 9734"/>
              <a:gd name="connsiteY55" fmla="*/ 3993 h 10000"/>
              <a:gd name="connsiteX56" fmla="*/ 2601 w 9734"/>
              <a:gd name="connsiteY56" fmla="*/ 3798 h 10000"/>
              <a:gd name="connsiteX57" fmla="*/ 1742 w 9734"/>
              <a:gd name="connsiteY57" fmla="*/ 3414 h 10000"/>
              <a:gd name="connsiteX58" fmla="*/ 1742 w 9734"/>
              <a:gd name="connsiteY58" fmla="*/ 3414 h 10000"/>
              <a:gd name="connsiteX59" fmla="*/ 1598 w 9734"/>
              <a:gd name="connsiteY59" fmla="*/ 3349 h 10000"/>
              <a:gd name="connsiteX60" fmla="*/ 1454 w 9734"/>
              <a:gd name="connsiteY60" fmla="*/ 3279 h 10000"/>
              <a:gd name="connsiteX61" fmla="*/ 1314 w 9734"/>
              <a:gd name="connsiteY61" fmla="*/ 3205 h 10000"/>
              <a:gd name="connsiteX62" fmla="*/ 1179 w 9734"/>
              <a:gd name="connsiteY62" fmla="*/ 3126 h 10000"/>
              <a:gd name="connsiteX63" fmla="*/ 1049 w 9734"/>
              <a:gd name="connsiteY63" fmla="*/ 3038 h 10000"/>
              <a:gd name="connsiteX64" fmla="*/ 923 w 9734"/>
              <a:gd name="connsiteY64" fmla="*/ 2946 h 10000"/>
              <a:gd name="connsiteX65" fmla="*/ 797 w 9734"/>
              <a:gd name="connsiteY65" fmla="*/ 2849 h 10000"/>
              <a:gd name="connsiteX66" fmla="*/ 680 w 9734"/>
              <a:gd name="connsiteY66" fmla="*/ 2742 h 10000"/>
              <a:gd name="connsiteX67" fmla="*/ 680 w 9734"/>
              <a:gd name="connsiteY67" fmla="*/ 2742 h 10000"/>
              <a:gd name="connsiteX68" fmla="*/ 590 w 9734"/>
              <a:gd name="connsiteY68" fmla="*/ 2649 h 10000"/>
              <a:gd name="connsiteX69" fmla="*/ 504 w 9734"/>
              <a:gd name="connsiteY69" fmla="*/ 2557 h 10000"/>
              <a:gd name="connsiteX70" fmla="*/ 423 w 9734"/>
              <a:gd name="connsiteY70" fmla="*/ 2459 h 10000"/>
              <a:gd name="connsiteX71" fmla="*/ 356 w 9734"/>
              <a:gd name="connsiteY71" fmla="*/ 2362 h 10000"/>
              <a:gd name="connsiteX72" fmla="*/ 288 w 9734"/>
              <a:gd name="connsiteY72" fmla="*/ 2260 h 10000"/>
              <a:gd name="connsiteX73" fmla="*/ 230 w 9734"/>
              <a:gd name="connsiteY73" fmla="*/ 2154 h 10000"/>
              <a:gd name="connsiteX74" fmla="*/ 180 w 9734"/>
              <a:gd name="connsiteY74" fmla="*/ 2047 h 10000"/>
              <a:gd name="connsiteX75" fmla="*/ 131 w 9734"/>
              <a:gd name="connsiteY75" fmla="*/ 1941 h 10000"/>
              <a:gd name="connsiteX76" fmla="*/ 95 w 9734"/>
              <a:gd name="connsiteY76" fmla="*/ 1830 h 10000"/>
              <a:gd name="connsiteX77" fmla="*/ 63 w 9734"/>
              <a:gd name="connsiteY77" fmla="*/ 1714 h 10000"/>
              <a:gd name="connsiteX78" fmla="*/ 36 w 9734"/>
              <a:gd name="connsiteY78" fmla="*/ 1593 h 10000"/>
              <a:gd name="connsiteX79" fmla="*/ 18 w 9734"/>
              <a:gd name="connsiteY79" fmla="*/ 1473 h 10000"/>
              <a:gd name="connsiteX80" fmla="*/ 5 w 9734"/>
              <a:gd name="connsiteY80" fmla="*/ 1352 h 10000"/>
              <a:gd name="connsiteX81" fmla="*/ 0 w 9734"/>
              <a:gd name="connsiteY81" fmla="*/ 1227 h 10000"/>
              <a:gd name="connsiteX82" fmla="*/ 0 w 9734"/>
              <a:gd name="connsiteY82" fmla="*/ 1098 h 10000"/>
              <a:gd name="connsiteX83" fmla="*/ 9 w 9734"/>
              <a:gd name="connsiteY83" fmla="*/ 968 h 10000"/>
              <a:gd name="connsiteX84" fmla="*/ 9 w 9734"/>
              <a:gd name="connsiteY84" fmla="*/ 968 h 10000"/>
              <a:gd name="connsiteX85" fmla="*/ 23 w 9734"/>
              <a:gd name="connsiteY85" fmla="*/ 848 h 10000"/>
              <a:gd name="connsiteX86" fmla="*/ 41 w 9734"/>
              <a:gd name="connsiteY86" fmla="*/ 727 h 10000"/>
              <a:gd name="connsiteX87" fmla="*/ 68 w 9734"/>
              <a:gd name="connsiteY87" fmla="*/ 607 h 10000"/>
              <a:gd name="connsiteX88" fmla="*/ 95 w 9734"/>
              <a:gd name="connsiteY88" fmla="*/ 491 h 10000"/>
              <a:gd name="connsiteX89" fmla="*/ 131 w 9734"/>
              <a:gd name="connsiteY89" fmla="*/ 375 h 10000"/>
              <a:gd name="connsiteX90" fmla="*/ 171 w 9734"/>
              <a:gd name="connsiteY90" fmla="*/ 259 h 10000"/>
              <a:gd name="connsiteX91" fmla="*/ 212 w 9734"/>
              <a:gd name="connsiteY91" fmla="*/ 148 h 10000"/>
              <a:gd name="connsiteX92" fmla="*/ 266 w 9734"/>
              <a:gd name="connsiteY92" fmla="*/ 37 h 10000"/>
              <a:gd name="connsiteX93" fmla="*/ 266 w 9734"/>
              <a:gd name="connsiteY93" fmla="*/ 37 h 10000"/>
              <a:gd name="connsiteX94" fmla="*/ 275 w 9734"/>
              <a:gd name="connsiteY94" fmla="*/ 0 h 10000"/>
              <a:gd name="connsiteX95" fmla="*/ 275 w 9734"/>
              <a:gd name="connsiteY95" fmla="*/ 0 h 10000"/>
              <a:gd name="connsiteX0" fmla="*/ 283 w 7245"/>
              <a:gd name="connsiteY0" fmla="*/ 0 h 8902"/>
              <a:gd name="connsiteX1" fmla="*/ 283 w 7245"/>
              <a:gd name="connsiteY1" fmla="*/ 0 h 8902"/>
              <a:gd name="connsiteX2" fmla="*/ 6554 w 7245"/>
              <a:gd name="connsiteY2" fmla="*/ 0 h 8902"/>
              <a:gd name="connsiteX3" fmla="*/ 7245 w 7245"/>
              <a:gd name="connsiteY3" fmla="*/ 8902 h 8902"/>
              <a:gd name="connsiteX4" fmla="*/ 6991 w 7245"/>
              <a:gd name="connsiteY4" fmla="*/ 8736 h 8902"/>
              <a:gd name="connsiteX5" fmla="*/ 6741 w 7245"/>
              <a:gd name="connsiteY5" fmla="*/ 8564 h 8902"/>
              <a:gd name="connsiteX6" fmla="*/ 6492 w 7245"/>
              <a:gd name="connsiteY6" fmla="*/ 8388 h 8902"/>
              <a:gd name="connsiteX7" fmla="*/ 6251 w 7245"/>
              <a:gd name="connsiteY7" fmla="*/ 8208 h 8902"/>
              <a:gd name="connsiteX8" fmla="*/ 6011 w 7245"/>
              <a:gd name="connsiteY8" fmla="*/ 8022 h 8902"/>
              <a:gd name="connsiteX9" fmla="*/ 5775 w 7245"/>
              <a:gd name="connsiteY9" fmla="*/ 7832 h 8902"/>
              <a:gd name="connsiteX10" fmla="*/ 5539 w 7245"/>
              <a:gd name="connsiteY10" fmla="*/ 7642 h 8902"/>
              <a:gd name="connsiteX11" fmla="*/ 5308 w 7245"/>
              <a:gd name="connsiteY11" fmla="*/ 7443 h 8902"/>
              <a:gd name="connsiteX12" fmla="*/ 5308 w 7245"/>
              <a:gd name="connsiteY12" fmla="*/ 7443 h 8902"/>
              <a:gd name="connsiteX13" fmla="*/ 5039 w 7245"/>
              <a:gd name="connsiteY13" fmla="*/ 7216 h 8902"/>
              <a:gd name="connsiteX14" fmla="*/ 5039 w 7245"/>
              <a:gd name="connsiteY14" fmla="*/ 7216 h 8902"/>
              <a:gd name="connsiteX15" fmla="*/ 5131 w 7245"/>
              <a:gd name="connsiteY15" fmla="*/ 7040 h 8902"/>
              <a:gd name="connsiteX16" fmla="*/ 5216 w 7245"/>
              <a:gd name="connsiteY16" fmla="*/ 6864 h 8902"/>
              <a:gd name="connsiteX17" fmla="*/ 5216 w 7245"/>
              <a:gd name="connsiteY17" fmla="*/ 6864 h 8902"/>
              <a:gd name="connsiteX18" fmla="*/ 5253 w 7245"/>
              <a:gd name="connsiteY18" fmla="*/ 6781 h 8902"/>
              <a:gd name="connsiteX19" fmla="*/ 5285 w 7245"/>
              <a:gd name="connsiteY19" fmla="*/ 6693 h 8902"/>
              <a:gd name="connsiteX20" fmla="*/ 5317 w 7245"/>
              <a:gd name="connsiteY20" fmla="*/ 6605 h 8902"/>
              <a:gd name="connsiteX21" fmla="*/ 5345 w 7245"/>
              <a:gd name="connsiteY21" fmla="*/ 6517 h 8902"/>
              <a:gd name="connsiteX22" fmla="*/ 5368 w 7245"/>
              <a:gd name="connsiteY22" fmla="*/ 6424 h 8902"/>
              <a:gd name="connsiteX23" fmla="*/ 5386 w 7245"/>
              <a:gd name="connsiteY23" fmla="*/ 6336 h 8902"/>
              <a:gd name="connsiteX24" fmla="*/ 5396 w 7245"/>
              <a:gd name="connsiteY24" fmla="*/ 6244 h 8902"/>
              <a:gd name="connsiteX25" fmla="*/ 5405 w 7245"/>
              <a:gd name="connsiteY25" fmla="*/ 6146 h 8902"/>
              <a:gd name="connsiteX26" fmla="*/ 5405 w 7245"/>
              <a:gd name="connsiteY26" fmla="*/ 6146 h 8902"/>
              <a:gd name="connsiteX27" fmla="*/ 5410 w 7245"/>
              <a:gd name="connsiteY27" fmla="*/ 6040 h 8902"/>
              <a:gd name="connsiteX28" fmla="*/ 5401 w 7245"/>
              <a:gd name="connsiteY28" fmla="*/ 5933 h 8902"/>
              <a:gd name="connsiteX29" fmla="*/ 5386 w 7245"/>
              <a:gd name="connsiteY29" fmla="*/ 5831 h 8902"/>
              <a:gd name="connsiteX30" fmla="*/ 5364 w 7245"/>
              <a:gd name="connsiteY30" fmla="*/ 5730 h 8902"/>
              <a:gd name="connsiteX31" fmla="*/ 5331 w 7245"/>
              <a:gd name="connsiteY31" fmla="*/ 5632 h 8902"/>
              <a:gd name="connsiteX32" fmla="*/ 5290 w 7245"/>
              <a:gd name="connsiteY32" fmla="*/ 5535 h 8902"/>
              <a:gd name="connsiteX33" fmla="*/ 5238 w 7245"/>
              <a:gd name="connsiteY33" fmla="*/ 5442 h 8902"/>
              <a:gd name="connsiteX34" fmla="*/ 5183 w 7245"/>
              <a:gd name="connsiteY34" fmla="*/ 5350 h 8902"/>
              <a:gd name="connsiteX35" fmla="*/ 5183 w 7245"/>
              <a:gd name="connsiteY35" fmla="*/ 5350 h 8902"/>
              <a:gd name="connsiteX36" fmla="*/ 5122 w 7245"/>
              <a:gd name="connsiteY36" fmla="*/ 5266 h 8902"/>
              <a:gd name="connsiteX37" fmla="*/ 5058 w 7245"/>
              <a:gd name="connsiteY37" fmla="*/ 5183 h 8902"/>
              <a:gd name="connsiteX38" fmla="*/ 4989 w 7245"/>
              <a:gd name="connsiteY38" fmla="*/ 5109 h 8902"/>
              <a:gd name="connsiteX39" fmla="*/ 4915 w 7245"/>
              <a:gd name="connsiteY39" fmla="*/ 5035 h 8902"/>
              <a:gd name="connsiteX40" fmla="*/ 4836 w 7245"/>
              <a:gd name="connsiteY40" fmla="*/ 4965 h 8902"/>
              <a:gd name="connsiteX41" fmla="*/ 4758 w 7245"/>
              <a:gd name="connsiteY41" fmla="*/ 4900 h 8902"/>
              <a:gd name="connsiteX42" fmla="*/ 4674 w 7245"/>
              <a:gd name="connsiteY42" fmla="*/ 4836 h 8902"/>
              <a:gd name="connsiteX43" fmla="*/ 4591 w 7245"/>
              <a:gd name="connsiteY43" fmla="*/ 4775 h 8902"/>
              <a:gd name="connsiteX44" fmla="*/ 4591 w 7245"/>
              <a:gd name="connsiteY44" fmla="*/ 4775 h 8902"/>
              <a:gd name="connsiteX45" fmla="*/ 4466 w 7245"/>
              <a:gd name="connsiteY45" fmla="*/ 4687 h 8902"/>
              <a:gd name="connsiteX46" fmla="*/ 4341 w 7245"/>
              <a:gd name="connsiteY46" fmla="*/ 4609 h 8902"/>
              <a:gd name="connsiteX47" fmla="*/ 4216 w 7245"/>
              <a:gd name="connsiteY47" fmla="*/ 4530 h 8902"/>
              <a:gd name="connsiteX48" fmla="*/ 4087 w 7245"/>
              <a:gd name="connsiteY48" fmla="*/ 4456 h 8902"/>
              <a:gd name="connsiteX49" fmla="*/ 3957 w 7245"/>
              <a:gd name="connsiteY49" fmla="*/ 4386 h 8902"/>
              <a:gd name="connsiteX50" fmla="*/ 3824 w 7245"/>
              <a:gd name="connsiteY50" fmla="*/ 4317 h 8902"/>
              <a:gd name="connsiteX51" fmla="*/ 3689 w 7245"/>
              <a:gd name="connsiteY51" fmla="*/ 4252 h 8902"/>
              <a:gd name="connsiteX52" fmla="*/ 3556 w 7245"/>
              <a:gd name="connsiteY52" fmla="*/ 4187 h 8902"/>
              <a:gd name="connsiteX53" fmla="*/ 3556 w 7245"/>
              <a:gd name="connsiteY53" fmla="*/ 4187 h 8902"/>
              <a:gd name="connsiteX54" fmla="*/ 3112 w 7245"/>
              <a:gd name="connsiteY54" fmla="*/ 3993 h 8902"/>
              <a:gd name="connsiteX55" fmla="*/ 2672 w 7245"/>
              <a:gd name="connsiteY55" fmla="*/ 3798 h 8902"/>
              <a:gd name="connsiteX56" fmla="*/ 1790 w 7245"/>
              <a:gd name="connsiteY56" fmla="*/ 3414 h 8902"/>
              <a:gd name="connsiteX57" fmla="*/ 1790 w 7245"/>
              <a:gd name="connsiteY57" fmla="*/ 3414 h 8902"/>
              <a:gd name="connsiteX58" fmla="*/ 1642 w 7245"/>
              <a:gd name="connsiteY58" fmla="*/ 3349 h 8902"/>
              <a:gd name="connsiteX59" fmla="*/ 1494 w 7245"/>
              <a:gd name="connsiteY59" fmla="*/ 3279 h 8902"/>
              <a:gd name="connsiteX60" fmla="*/ 1350 w 7245"/>
              <a:gd name="connsiteY60" fmla="*/ 3205 h 8902"/>
              <a:gd name="connsiteX61" fmla="*/ 1211 w 7245"/>
              <a:gd name="connsiteY61" fmla="*/ 3126 h 8902"/>
              <a:gd name="connsiteX62" fmla="*/ 1078 w 7245"/>
              <a:gd name="connsiteY62" fmla="*/ 3038 h 8902"/>
              <a:gd name="connsiteX63" fmla="*/ 948 w 7245"/>
              <a:gd name="connsiteY63" fmla="*/ 2946 h 8902"/>
              <a:gd name="connsiteX64" fmla="*/ 819 w 7245"/>
              <a:gd name="connsiteY64" fmla="*/ 2849 h 8902"/>
              <a:gd name="connsiteX65" fmla="*/ 699 w 7245"/>
              <a:gd name="connsiteY65" fmla="*/ 2742 h 8902"/>
              <a:gd name="connsiteX66" fmla="*/ 699 w 7245"/>
              <a:gd name="connsiteY66" fmla="*/ 2742 h 8902"/>
              <a:gd name="connsiteX67" fmla="*/ 606 w 7245"/>
              <a:gd name="connsiteY67" fmla="*/ 2649 h 8902"/>
              <a:gd name="connsiteX68" fmla="*/ 518 w 7245"/>
              <a:gd name="connsiteY68" fmla="*/ 2557 h 8902"/>
              <a:gd name="connsiteX69" fmla="*/ 435 w 7245"/>
              <a:gd name="connsiteY69" fmla="*/ 2459 h 8902"/>
              <a:gd name="connsiteX70" fmla="*/ 366 w 7245"/>
              <a:gd name="connsiteY70" fmla="*/ 2362 h 8902"/>
              <a:gd name="connsiteX71" fmla="*/ 296 w 7245"/>
              <a:gd name="connsiteY71" fmla="*/ 2260 h 8902"/>
              <a:gd name="connsiteX72" fmla="*/ 236 w 7245"/>
              <a:gd name="connsiteY72" fmla="*/ 2154 h 8902"/>
              <a:gd name="connsiteX73" fmla="*/ 185 w 7245"/>
              <a:gd name="connsiteY73" fmla="*/ 2047 h 8902"/>
              <a:gd name="connsiteX74" fmla="*/ 135 w 7245"/>
              <a:gd name="connsiteY74" fmla="*/ 1941 h 8902"/>
              <a:gd name="connsiteX75" fmla="*/ 98 w 7245"/>
              <a:gd name="connsiteY75" fmla="*/ 1830 h 8902"/>
              <a:gd name="connsiteX76" fmla="*/ 65 w 7245"/>
              <a:gd name="connsiteY76" fmla="*/ 1714 h 8902"/>
              <a:gd name="connsiteX77" fmla="*/ 37 w 7245"/>
              <a:gd name="connsiteY77" fmla="*/ 1593 h 8902"/>
              <a:gd name="connsiteX78" fmla="*/ 18 w 7245"/>
              <a:gd name="connsiteY78" fmla="*/ 1473 h 8902"/>
              <a:gd name="connsiteX79" fmla="*/ 5 w 7245"/>
              <a:gd name="connsiteY79" fmla="*/ 1352 h 8902"/>
              <a:gd name="connsiteX80" fmla="*/ 0 w 7245"/>
              <a:gd name="connsiteY80" fmla="*/ 1227 h 8902"/>
              <a:gd name="connsiteX81" fmla="*/ 0 w 7245"/>
              <a:gd name="connsiteY81" fmla="*/ 1098 h 8902"/>
              <a:gd name="connsiteX82" fmla="*/ 9 w 7245"/>
              <a:gd name="connsiteY82" fmla="*/ 968 h 8902"/>
              <a:gd name="connsiteX83" fmla="*/ 9 w 7245"/>
              <a:gd name="connsiteY83" fmla="*/ 968 h 8902"/>
              <a:gd name="connsiteX84" fmla="*/ 24 w 7245"/>
              <a:gd name="connsiteY84" fmla="*/ 848 h 8902"/>
              <a:gd name="connsiteX85" fmla="*/ 42 w 7245"/>
              <a:gd name="connsiteY85" fmla="*/ 727 h 8902"/>
              <a:gd name="connsiteX86" fmla="*/ 70 w 7245"/>
              <a:gd name="connsiteY86" fmla="*/ 607 h 8902"/>
              <a:gd name="connsiteX87" fmla="*/ 98 w 7245"/>
              <a:gd name="connsiteY87" fmla="*/ 491 h 8902"/>
              <a:gd name="connsiteX88" fmla="*/ 135 w 7245"/>
              <a:gd name="connsiteY88" fmla="*/ 375 h 8902"/>
              <a:gd name="connsiteX89" fmla="*/ 176 w 7245"/>
              <a:gd name="connsiteY89" fmla="*/ 259 h 8902"/>
              <a:gd name="connsiteX90" fmla="*/ 218 w 7245"/>
              <a:gd name="connsiteY90" fmla="*/ 148 h 8902"/>
              <a:gd name="connsiteX91" fmla="*/ 273 w 7245"/>
              <a:gd name="connsiteY91" fmla="*/ 37 h 8902"/>
              <a:gd name="connsiteX92" fmla="*/ 273 w 7245"/>
              <a:gd name="connsiteY92" fmla="*/ 37 h 8902"/>
              <a:gd name="connsiteX93" fmla="*/ 283 w 7245"/>
              <a:gd name="connsiteY93" fmla="*/ 0 h 8902"/>
              <a:gd name="connsiteX94" fmla="*/ 283 w 7245"/>
              <a:gd name="connsiteY94" fmla="*/ 0 h 8902"/>
              <a:gd name="connsiteX0" fmla="*/ 391 w 10589"/>
              <a:gd name="connsiteY0" fmla="*/ 0 h 11417"/>
              <a:gd name="connsiteX1" fmla="*/ 391 w 10589"/>
              <a:gd name="connsiteY1" fmla="*/ 0 h 11417"/>
              <a:gd name="connsiteX2" fmla="*/ 9046 w 10589"/>
              <a:gd name="connsiteY2" fmla="*/ 0 h 11417"/>
              <a:gd name="connsiteX3" fmla="*/ 9649 w 10589"/>
              <a:gd name="connsiteY3" fmla="*/ 9814 h 11417"/>
              <a:gd name="connsiteX4" fmla="*/ 9304 w 10589"/>
              <a:gd name="connsiteY4" fmla="*/ 9620 h 11417"/>
              <a:gd name="connsiteX5" fmla="*/ 8961 w 10589"/>
              <a:gd name="connsiteY5" fmla="*/ 9423 h 11417"/>
              <a:gd name="connsiteX6" fmla="*/ 8628 w 10589"/>
              <a:gd name="connsiteY6" fmla="*/ 9220 h 11417"/>
              <a:gd name="connsiteX7" fmla="*/ 8297 w 10589"/>
              <a:gd name="connsiteY7" fmla="*/ 9011 h 11417"/>
              <a:gd name="connsiteX8" fmla="*/ 7971 w 10589"/>
              <a:gd name="connsiteY8" fmla="*/ 8798 h 11417"/>
              <a:gd name="connsiteX9" fmla="*/ 7645 w 10589"/>
              <a:gd name="connsiteY9" fmla="*/ 8585 h 11417"/>
              <a:gd name="connsiteX10" fmla="*/ 7326 w 10589"/>
              <a:gd name="connsiteY10" fmla="*/ 8361 h 11417"/>
              <a:gd name="connsiteX11" fmla="*/ 7326 w 10589"/>
              <a:gd name="connsiteY11" fmla="*/ 8361 h 11417"/>
              <a:gd name="connsiteX12" fmla="*/ 6955 w 10589"/>
              <a:gd name="connsiteY12" fmla="*/ 8106 h 11417"/>
              <a:gd name="connsiteX13" fmla="*/ 6955 w 10589"/>
              <a:gd name="connsiteY13" fmla="*/ 8106 h 11417"/>
              <a:gd name="connsiteX14" fmla="*/ 7082 w 10589"/>
              <a:gd name="connsiteY14" fmla="*/ 7908 h 11417"/>
              <a:gd name="connsiteX15" fmla="*/ 7199 w 10589"/>
              <a:gd name="connsiteY15" fmla="*/ 7711 h 11417"/>
              <a:gd name="connsiteX16" fmla="*/ 7199 w 10589"/>
              <a:gd name="connsiteY16" fmla="*/ 7711 h 11417"/>
              <a:gd name="connsiteX17" fmla="*/ 7251 w 10589"/>
              <a:gd name="connsiteY17" fmla="*/ 7617 h 11417"/>
              <a:gd name="connsiteX18" fmla="*/ 7295 w 10589"/>
              <a:gd name="connsiteY18" fmla="*/ 7519 h 11417"/>
              <a:gd name="connsiteX19" fmla="*/ 7339 w 10589"/>
              <a:gd name="connsiteY19" fmla="*/ 7420 h 11417"/>
              <a:gd name="connsiteX20" fmla="*/ 7378 w 10589"/>
              <a:gd name="connsiteY20" fmla="*/ 7321 h 11417"/>
              <a:gd name="connsiteX21" fmla="*/ 7409 w 10589"/>
              <a:gd name="connsiteY21" fmla="*/ 7216 h 11417"/>
              <a:gd name="connsiteX22" fmla="*/ 7434 w 10589"/>
              <a:gd name="connsiteY22" fmla="*/ 7118 h 11417"/>
              <a:gd name="connsiteX23" fmla="*/ 7448 w 10589"/>
              <a:gd name="connsiteY23" fmla="*/ 7014 h 11417"/>
              <a:gd name="connsiteX24" fmla="*/ 7460 w 10589"/>
              <a:gd name="connsiteY24" fmla="*/ 6904 h 11417"/>
              <a:gd name="connsiteX25" fmla="*/ 7460 w 10589"/>
              <a:gd name="connsiteY25" fmla="*/ 6904 h 11417"/>
              <a:gd name="connsiteX26" fmla="*/ 7467 w 10589"/>
              <a:gd name="connsiteY26" fmla="*/ 6785 h 11417"/>
              <a:gd name="connsiteX27" fmla="*/ 7455 w 10589"/>
              <a:gd name="connsiteY27" fmla="*/ 6665 h 11417"/>
              <a:gd name="connsiteX28" fmla="*/ 7434 w 10589"/>
              <a:gd name="connsiteY28" fmla="*/ 6550 h 11417"/>
              <a:gd name="connsiteX29" fmla="*/ 7404 w 10589"/>
              <a:gd name="connsiteY29" fmla="*/ 6437 h 11417"/>
              <a:gd name="connsiteX30" fmla="*/ 7358 w 10589"/>
              <a:gd name="connsiteY30" fmla="*/ 6327 h 11417"/>
              <a:gd name="connsiteX31" fmla="*/ 7302 w 10589"/>
              <a:gd name="connsiteY31" fmla="*/ 6218 h 11417"/>
              <a:gd name="connsiteX32" fmla="*/ 7230 w 10589"/>
              <a:gd name="connsiteY32" fmla="*/ 6113 h 11417"/>
              <a:gd name="connsiteX33" fmla="*/ 7154 w 10589"/>
              <a:gd name="connsiteY33" fmla="*/ 6010 h 11417"/>
              <a:gd name="connsiteX34" fmla="*/ 7154 w 10589"/>
              <a:gd name="connsiteY34" fmla="*/ 6010 h 11417"/>
              <a:gd name="connsiteX35" fmla="*/ 7070 w 10589"/>
              <a:gd name="connsiteY35" fmla="*/ 5916 h 11417"/>
              <a:gd name="connsiteX36" fmla="*/ 6981 w 10589"/>
              <a:gd name="connsiteY36" fmla="*/ 5822 h 11417"/>
              <a:gd name="connsiteX37" fmla="*/ 6886 w 10589"/>
              <a:gd name="connsiteY37" fmla="*/ 5739 h 11417"/>
              <a:gd name="connsiteX38" fmla="*/ 6784 w 10589"/>
              <a:gd name="connsiteY38" fmla="*/ 5656 h 11417"/>
              <a:gd name="connsiteX39" fmla="*/ 6675 w 10589"/>
              <a:gd name="connsiteY39" fmla="*/ 5577 h 11417"/>
              <a:gd name="connsiteX40" fmla="*/ 6567 w 10589"/>
              <a:gd name="connsiteY40" fmla="*/ 5504 h 11417"/>
              <a:gd name="connsiteX41" fmla="*/ 6451 w 10589"/>
              <a:gd name="connsiteY41" fmla="*/ 5432 h 11417"/>
              <a:gd name="connsiteX42" fmla="*/ 6337 w 10589"/>
              <a:gd name="connsiteY42" fmla="*/ 5364 h 11417"/>
              <a:gd name="connsiteX43" fmla="*/ 6337 w 10589"/>
              <a:gd name="connsiteY43" fmla="*/ 5364 h 11417"/>
              <a:gd name="connsiteX44" fmla="*/ 6164 w 10589"/>
              <a:gd name="connsiteY44" fmla="*/ 5265 h 11417"/>
              <a:gd name="connsiteX45" fmla="*/ 5992 w 10589"/>
              <a:gd name="connsiteY45" fmla="*/ 5177 h 11417"/>
              <a:gd name="connsiteX46" fmla="*/ 5819 w 10589"/>
              <a:gd name="connsiteY46" fmla="*/ 5089 h 11417"/>
              <a:gd name="connsiteX47" fmla="*/ 5641 w 10589"/>
              <a:gd name="connsiteY47" fmla="*/ 5006 h 11417"/>
              <a:gd name="connsiteX48" fmla="*/ 5462 w 10589"/>
              <a:gd name="connsiteY48" fmla="*/ 4927 h 11417"/>
              <a:gd name="connsiteX49" fmla="*/ 5278 w 10589"/>
              <a:gd name="connsiteY49" fmla="*/ 4849 h 11417"/>
              <a:gd name="connsiteX50" fmla="*/ 5092 w 10589"/>
              <a:gd name="connsiteY50" fmla="*/ 4776 h 11417"/>
              <a:gd name="connsiteX51" fmla="*/ 4908 w 10589"/>
              <a:gd name="connsiteY51" fmla="*/ 4703 h 11417"/>
              <a:gd name="connsiteX52" fmla="*/ 4908 w 10589"/>
              <a:gd name="connsiteY52" fmla="*/ 4703 h 11417"/>
              <a:gd name="connsiteX53" fmla="*/ 4295 w 10589"/>
              <a:gd name="connsiteY53" fmla="*/ 4486 h 11417"/>
              <a:gd name="connsiteX54" fmla="*/ 3688 w 10589"/>
              <a:gd name="connsiteY54" fmla="*/ 4266 h 11417"/>
              <a:gd name="connsiteX55" fmla="*/ 2471 w 10589"/>
              <a:gd name="connsiteY55" fmla="*/ 3835 h 11417"/>
              <a:gd name="connsiteX56" fmla="*/ 2471 w 10589"/>
              <a:gd name="connsiteY56" fmla="*/ 3835 h 11417"/>
              <a:gd name="connsiteX57" fmla="*/ 2266 w 10589"/>
              <a:gd name="connsiteY57" fmla="*/ 3762 h 11417"/>
              <a:gd name="connsiteX58" fmla="*/ 2062 w 10589"/>
              <a:gd name="connsiteY58" fmla="*/ 3683 h 11417"/>
              <a:gd name="connsiteX59" fmla="*/ 1863 w 10589"/>
              <a:gd name="connsiteY59" fmla="*/ 3600 h 11417"/>
              <a:gd name="connsiteX60" fmla="*/ 1671 w 10589"/>
              <a:gd name="connsiteY60" fmla="*/ 3512 h 11417"/>
              <a:gd name="connsiteX61" fmla="*/ 1488 w 10589"/>
              <a:gd name="connsiteY61" fmla="*/ 3413 h 11417"/>
              <a:gd name="connsiteX62" fmla="*/ 1308 w 10589"/>
              <a:gd name="connsiteY62" fmla="*/ 3309 h 11417"/>
              <a:gd name="connsiteX63" fmla="*/ 1130 w 10589"/>
              <a:gd name="connsiteY63" fmla="*/ 3200 h 11417"/>
              <a:gd name="connsiteX64" fmla="*/ 965 w 10589"/>
              <a:gd name="connsiteY64" fmla="*/ 3080 h 11417"/>
              <a:gd name="connsiteX65" fmla="*/ 965 w 10589"/>
              <a:gd name="connsiteY65" fmla="*/ 3080 h 11417"/>
              <a:gd name="connsiteX66" fmla="*/ 836 w 10589"/>
              <a:gd name="connsiteY66" fmla="*/ 2976 h 11417"/>
              <a:gd name="connsiteX67" fmla="*/ 715 w 10589"/>
              <a:gd name="connsiteY67" fmla="*/ 2872 h 11417"/>
              <a:gd name="connsiteX68" fmla="*/ 600 w 10589"/>
              <a:gd name="connsiteY68" fmla="*/ 2762 h 11417"/>
              <a:gd name="connsiteX69" fmla="*/ 505 w 10589"/>
              <a:gd name="connsiteY69" fmla="*/ 2653 h 11417"/>
              <a:gd name="connsiteX70" fmla="*/ 409 w 10589"/>
              <a:gd name="connsiteY70" fmla="*/ 2539 h 11417"/>
              <a:gd name="connsiteX71" fmla="*/ 326 w 10589"/>
              <a:gd name="connsiteY71" fmla="*/ 2420 h 11417"/>
              <a:gd name="connsiteX72" fmla="*/ 255 w 10589"/>
              <a:gd name="connsiteY72" fmla="*/ 2299 h 11417"/>
              <a:gd name="connsiteX73" fmla="*/ 186 w 10589"/>
              <a:gd name="connsiteY73" fmla="*/ 2180 h 11417"/>
              <a:gd name="connsiteX74" fmla="*/ 135 w 10589"/>
              <a:gd name="connsiteY74" fmla="*/ 2056 h 11417"/>
              <a:gd name="connsiteX75" fmla="*/ 90 w 10589"/>
              <a:gd name="connsiteY75" fmla="*/ 1925 h 11417"/>
              <a:gd name="connsiteX76" fmla="*/ 51 w 10589"/>
              <a:gd name="connsiteY76" fmla="*/ 1789 h 11417"/>
              <a:gd name="connsiteX77" fmla="*/ 25 w 10589"/>
              <a:gd name="connsiteY77" fmla="*/ 1655 h 11417"/>
              <a:gd name="connsiteX78" fmla="*/ 7 w 10589"/>
              <a:gd name="connsiteY78" fmla="*/ 1519 h 11417"/>
              <a:gd name="connsiteX79" fmla="*/ 0 w 10589"/>
              <a:gd name="connsiteY79" fmla="*/ 1378 h 11417"/>
              <a:gd name="connsiteX80" fmla="*/ 0 w 10589"/>
              <a:gd name="connsiteY80" fmla="*/ 1233 h 11417"/>
              <a:gd name="connsiteX81" fmla="*/ 12 w 10589"/>
              <a:gd name="connsiteY81" fmla="*/ 1087 h 11417"/>
              <a:gd name="connsiteX82" fmla="*/ 12 w 10589"/>
              <a:gd name="connsiteY82" fmla="*/ 1087 h 11417"/>
              <a:gd name="connsiteX83" fmla="*/ 33 w 10589"/>
              <a:gd name="connsiteY83" fmla="*/ 953 h 11417"/>
              <a:gd name="connsiteX84" fmla="*/ 58 w 10589"/>
              <a:gd name="connsiteY84" fmla="*/ 817 h 11417"/>
              <a:gd name="connsiteX85" fmla="*/ 97 w 10589"/>
              <a:gd name="connsiteY85" fmla="*/ 682 h 11417"/>
              <a:gd name="connsiteX86" fmla="*/ 135 w 10589"/>
              <a:gd name="connsiteY86" fmla="*/ 552 h 11417"/>
              <a:gd name="connsiteX87" fmla="*/ 186 w 10589"/>
              <a:gd name="connsiteY87" fmla="*/ 421 h 11417"/>
              <a:gd name="connsiteX88" fmla="*/ 243 w 10589"/>
              <a:gd name="connsiteY88" fmla="*/ 291 h 11417"/>
              <a:gd name="connsiteX89" fmla="*/ 301 w 10589"/>
              <a:gd name="connsiteY89" fmla="*/ 166 h 11417"/>
              <a:gd name="connsiteX90" fmla="*/ 377 w 10589"/>
              <a:gd name="connsiteY90" fmla="*/ 42 h 11417"/>
              <a:gd name="connsiteX91" fmla="*/ 377 w 10589"/>
              <a:gd name="connsiteY91" fmla="*/ 42 h 11417"/>
              <a:gd name="connsiteX92" fmla="*/ 391 w 10589"/>
              <a:gd name="connsiteY92" fmla="*/ 0 h 11417"/>
              <a:gd name="connsiteX93" fmla="*/ 391 w 10589"/>
              <a:gd name="connsiteY93" fmla="*/ 0 h 11417"/>
              <a:gd name="connsiteX0" fmla="*/ 391 w 10531"/>
              <a:gd name="connsiteY0" fmla="*/ 0 h 9620"/>
              <a:gd name="connsiteX1" fmla="*/ 391 w 10531"/>
              <a:gd name="connsiteY1" fmla="*/ 0 h 9620"/>
              <a:gd name="connsiteX2" fmla="*/ 9046 w 10531"/>
              <a:gd name="connsiteY2" fmla="*/ 0 h 9620"/>
              <a:gd name="connsiteX3" fmla="*/ 9304 w 10531"/>
              <a:gd name="connsiteY3" fmla="*/ 9620 h 9620"/>
              <a:gd name="connsiteX4" fmla="*/ 8961 w 10531"/>
              <a:gd name="connsiteY4" fmla="*/ 9423 h 9620"/>
              <a:gd name="connsiteX5" fmla="*/ 8628 w 10531"/>
              <a:gd name="connsiteY5" fmla="*/ 9220 h 9620"/>
              <a:gd name="connsiteX6" fmla="*/ 8297 w 10531"/>
              <a:gd name="connsiteY6" fmla="*/ 9011 h 9620"/>
              <a:gd name="connsiteX7" fmla="*/ 7971 w 10531"/>
              <a:gd name="connsiteY7" fmla="*/ 8798 h 9620"/>
              <a:gd name="connsiteX8" fmla="*/ 7645 w 10531"/>
              <a:gd name="connsiteY8" fmla="*/ 8585 h 9620"/>
              <a:gd name="connsiteX9" fmla="*/ 7326 w 10531"/>
              <a:gd name="connsiteY9" fmla="*/ 8361 h 9620"/>
              <a:gd name="connsiteX10" fmla="*/ 7326 w 10531"/>
              <a:gd name="connsiteY10" fmla="*/ 8361 h 9620"/>
              <a:gd name="connsiteX11" fmla="*/ 6955 w 10531"/>
              <a:gd name="connsiteY11" fmla="*/ 8106 h 9620"/>
              <a:gd name="connsiteX12" fmla="*/ 6955 w 10531"/>
              <a:gd name="connsiteY12" fmla="*/ 8106 h 9620"/>
              <a:gd name="connsiteX13" fmla="*/ 7082 w 10531"/>
              <a:gd name="connsiteY13" fmla="*/ 7908 h 9620"/>
              <a:gd name="connsiteX14" fmla="*/ 7199 w 10531"/>
              <a:gd name="connsiteY14" fmla="*/ 7711 h 9620"/>
              <a:gd name="connsiteX15" fmla="*/ 7199 w 10531"/>
              <a:gd name="connsiteY15" fmla="*/ 7711 h 9620"/>
              <a:gd name="connsiteX16" fmla="*/ 7251 w 10531"/>
              <a:gd name="connsiteY16" fmla="*/ 7617 h 9620"/>
              <a:gd name="connsiteX17" fmla="*/ 7295 w 10531"/>
              <a:gd name="connsiteY17" fmla="*/ 7519 h 9620"/>
              <a:gd name="connsiteX18" fmla="*/ 7339 w 10531"/>
              <a:gd name="connsiteY18" fmla="*/ 7420 h 9620"/>
              <a:gd name="connsiteX19" fmla="*/ 7378 w 10531"/>
              <a:gd name="connsiteY19" fmla="*/ 7321 h 9620"/>
              <a:gd name="connsiteX20" fmla="*/ 7409 w 10531"/>
              <a:gd name="connsiteY20" fmla="*/ 7216 h 9620"/>
              <a:gd name="connsiteX21" fmla="*/ 7434 w 10531"/>
              <a:gd name="connsiteY21" fmla="*/ 7118 h 9620"/>
              <a:gd name="connsiteX22" fmla="*/ 7448 w 10531"/>
              <a:gd name="connsiteY22" fmla="*/ 7014 h 9620"/>
              <a:gd name="connsiteX23" fmla="*/ 7460 w 10531"/>
              <a:gd name="connsiteY23" fmla="*/ 6904 h 9620"/>
              <a:gd name="connsiteX24" fmla="*/ 7460 w 10531"/>
              <a:gd name="connsiteY24" fmla="*/ 6904 h 9620"/>
              <a:gd name="connsiteX25" fmla="*/ 7467 w 10531"/>
              <a:gd name="connsiteY25" fmla="*/ 6785 h 9620"/>
              <a:gd name="connsiteX26" fmla="*/ 7455 w 10531"/>
              <a:gd name="connsiteY26" fmla="*/ 6665 h 9620"/>
              <a:gd name="connsiteX27" fmla="*/ 7434 w 10531"/>
              <a:gd name="connsiteY27" fmla="*/ 6550 h 9620"/>
              <a:gd name="connsiteX28" fmla="*/ 7404 w 10531"/>
              <a:gd name="connsiteY28" fmla="*/ 6437 h 9620"/>
              <a:gd name="connsiteX29" fmla="*/ 7358 w 10531"/>
              <a:gd name="connsiteY29" fmla="*/ 6327 h 9620"/>
              <a:gd name="connsiteX30" fmla="*/ 7302 w 10531"/>
              <a:gd name="connsiteY30" fmla="*/ 6218 h 9620"/>
              <a:gd name="connsiteX31" fmla="*/ 7230 w 10531"/>
              <a:gd name="connsiteY31" fmla="*/ 6113 h 9620"/>
              <a:gd name="connsiteX32" fmla="*/ 7154 w 10531"/>
              <a:gd name="connsiteY32" fmla="*/ 6010 h 9620"/>
              <a:gd name="connsiteX33" fmla="*/ 7154 w 10531"/>
              <a:gd name="connsiteY33" fmla="*/ 6010 h 9620"/>
              <a:gd name="connsiteX34" fmla="*/ 7070 w 10531"/>
              <a:gd name="connsiteY34" fmla="*/ 5916 h 9620"/>
              <a:gd name="connsiteX35" fmla="*/ 6981 w 10531"/>
              <a:gd name="connsiteY35" fmla="*/ 5822 h 9620"/>
              <a:gd name="connsiteX36" fmla="*/ 6886 w 10531"/>
              <a:gd name="connsiteY36" fmla="*/ 5739 h 9620"/>
              <a:gd name="connsiteX37" fmla="*/ 6784 w 10531"/>
              <a:gd name="connsiteY37" fmla="*/ 5656 h 9620"/>
              <a:gd name="connsiteX38" fmla="*/ 6675 w 10531"/>
              <a:gd name="connsiteY38" fmla="*/ 5577 h 9620"/>
              <a:gd name="connsiteX39" fmla="*/ 6567 w 10531"/>
              <a:gd name="connsiteY39" fmla="*/ 5504 h 9620"/>
              <a:gd name="connsiteX40" fmla="*/ 6451 w 10531"/>
              <a:gd name="connsiteY40" fmla="*/ 5432 h 9620"/>
              <a:gd name="connsiteX41" fmla="*/ 6337 w 10531"/>
              <a:gd name="connsiteY41" fmla="*/ 5364 h 9620"/>
              <a:gd name="connsiteX42" fmla="*/ 6337 w 10531"/>
              <a:gd name="connsiteY42" fmla="*/ 5364 h 9620"/>
              <a:gd name="connsiteX43" fmla="*/ 6164 w 10531"/>
              <a:gd name="connsiteY43" fmla="*/ 5265 h 9620"/>
              <a:gd name="connsiteX44" fmla="*/ 5992 w 10531"/>
              <a:gd name="connsiteY44" fmla="*/ 5177 h 9620"/>
              <a:gd name="connsiteX45" fmla="*/ 5819 w 10531"/>
              <a:gd name="connsiteY45" fmla="*/ 5089 h 9620"/>
              <a:gd name="connsiteX46" fmla="*/ 5641 w 10531"/>
              <a:gd name="connsiteY46" fmla="*/ 5006 h 9620"/>
              <a:gd name="connsiteX47" fmla="*/ 5462 w 10531"/>
              <a:gd name="connsiteY47" fmla="*/ 4927 h 9620"/>
              <a:gd name="connsiteX48" fmla="*/ 5278 w 10531"/>
              <a:gd name="connsiteY48" fmla="*/ 4849 h 9620"/>
              <a:gd name="connsiteX49" fmla="*/ 5092 w 10531"/>
              <a:gd name="connsiteY49" fmla="*/ 4776 h 9620"/>
              <a:gd name="connsiteX50" fmla="*/ 4908 w 10531"/>
              <a:gd name="connsiteY50" fmla="*/ 4703 h 9620"/>
              <a:gd name="connsiteX51" fmla="*/ 4908 w 10531"/>
              <a:gd name="connsiteY51" fmla="*/ 4703 h 9620"/>
              <a:gd name="connsiteX52" fmla="*/ 4295 w 10531"/>
              <a:gd name="connsiteY52" fmla="*/ 4486 h 9620"/>
              <a:gd name="connsiteX53" fmla="*/ 3688 w 10531"/>
              <a:gd name="connsiteY53" fmla="*/ 4266 h 9620"/>
              <a:gd name="connsiteX54" fmla="*/ 2471 w 10531"/>
              <a:gd name="connsiteY54" fmla="*/ 3835 h 9620"/>
              <a:gd name="connsiteX55" fmla="*/ 2471 w 10531"/>
              <a:gd name="connsiteY55" fmla="*/ 3835 h 9620"/>
              <a:gd name="connsiteX56" fmla="*/ 2266 w 10531"/>
              <a:gd name="connsiteY56" fmla="*/ 3762 h 9620"/>
              <a:gd name="connsiteX57" fmla="*/ 2062 w 10531"/>
              <a:gd name="connsiteY57" fmla="*/ 3683 h 9620"/>
              <a:gd name="connsiteX58" fmla="*/ 1863 w 10531"/>
              <a:gd name="connsiteY58" fmla="*/ 3600 h 9620"/>
              <a:gd name="connsiteX59" fmla="*/ 1671 w 10531"/>
              <a:gd name="connsiteY59" fmla="*/ 3512 h 9620"/>
              <a:gd name="connsiteX60" fmla="*/ 1488 w 10531"/>
              <a:gd name="connsiteY60" fmla="*/ 3413 h 9620"/>
              <a:gd name="connsiteX61" fmla="*/ 1308 w 10531"/>
              <a:gd name="connsiteY61" fmla="*/ 3309 h 9620"/>
              <a:gd name="connsiteX62" fmla="*/ 1130 w 10531"/>
              <a:gd name="connsiteY62" fmla="*/ 3200 h 9620"/>
              <a:gd name="connsiteX63" fmla="*/ 965 w 10531"/>
              <a:gd name="connsiteY63" fmla="*/ 3080 h 9620"/>
              <a:gd name="connsiteX64" fmla="*/ 965 w 10531"/>
              <a:gd name="connsiteY64" fmla="*/ 3080 h 9620"/>
              <a:gd name="connsiteX65" fmla="*/ 836 w 10531"/>
              <a:gd name="connsiteY65" fmla="*/ 2976 h 9620"/>
              <a:gd name="connsiteX66" fmla="*/ 715 w 10531"/>
              <a:gd name="connsiteY66" fmla="*/ 2872 h 9620"/>
              <a:gd name="connsiteX67" fmla="*/ 600 w 10531"/>
              <a:gd name="connsiteY67" fmla="*/ 2762 h 9620"/>
              <a:gd name="connsiteX68" fmla="*/ 505 w 10531"/>
              <a:gd name="connsiteY68" fmla="*/ 2653 h 9620"/>
              <a:gd name="connsiteX69" fmla="*/ 409 w 10531"/>
              <a:gd name="connsiteY69" fmla="*/ 2539 h 9620"/>
              <a:gd name="connsiteX70" fmla="*/ 326 w 10531"/>
              <a:gd name="connsiteY70" fmla="*/ 2420 h 9620"/>
              <a:gd name="connsiteX71" fmla="*/ 255 w 10531"/>
              <a:gd name="connsiteY71" fmla="*/ 2299 h 9620"/>
              <a:gd name="connsiteX72" fmla="*/ 186 w 10531"/>
              <a:gd name="connsiteY72" fmla="*/ 2180 h 9620"/>
              <a:gd name="connsiteX73" fmla="*/ 135 w 10531"/>
              <a:gd name="connsiteY73" fmla="*/ 2056 h 9620"/>
              <a:gd name="connsiteX74" fmla="*/ 90 w 10531"/>
              <a:gd name="connsiteY74" fmla="*/ 1925 h 9620"/>
              <a:gd name="connsiteX75" fmla="*/ 51 w 10531"/>
              <a:gd name="connsiteY75" fmla="*/ 1789 h 9620"/>
              <a:gd name="connsiteX76" fmla="*/ 25 w 10531"/>
              <a:gd name="connsiteY76" fmla="*/ 1655 h 9620"/>
              <a:gd name="connsiteX77" fmla="*/ 7 w 10531"/>
              <a:gd name="connsiteY77" fmla="*/ 1519 h 9620"/>
              <a:gd name="connsiteX78" fmla="*/ 0 w 10531"/>
              <a:gd name="connsiteY78" fmla="*/ 1378 h 9620"/>
              <a:gd name="connsiteX79" fmla="*/ 0 w 10531"/>
              <a:gd name="connsiteY79" fmla="*/ 1233 h 9620"/>
              <a:gd name="connsiteX80" fmla="*/ 12 w 10531"/>
              <a:gd name="connsiteY80" fmla="*/ 1087 h 9620"/>
              <a:gd name="connsiteX81" fmla="*/ 12 w 10531"/>
              <a:gd name="connsiteY81" fmla="*/ 1087 h 9620"/>
              <a:gd name="connsiteX82" fmla="*/ 33 w 10531"/>
              <a:gd name="connsiteY82" fmla="*/ 953 h 9620"/>
              <a:gd name="connsiteX83" fmla="*/ 58 w 10531"/>
              <a:gd name="connsiteY83" fmla="*/ 817 h 9620"/>
              <a:gd name="connsiteX84" fmla="*/ 97 w 10531"/>
              <a:gd name="connsiteY84" fmla="*/ 682 h 9620"/>
              <a:gd name="connsiteX85" fmla="*/ 135 w 10531"/>
              <a:gd name="connsiteY85" fmla="*/ 552 h 9620"/>
              <a:gd name="connsiteX86" fmla="*/ 186 w 10531"/>
              <a:gd name="connsiteY86" fmla="*/ 421 h 9620"/>
              <a:gd name="connsiteX87" fmla="*/ 243 w 10531"/>
              <a:gd name="connsiteY87" fmla="*/ 291 h 9620"/>
              <a:gd name="connsiteX88" fmla="*/ 301 w 10531"/>
              <a:gd name="connsiteY88" fmla="*/ 166 h 9620"/>
              <a:gd name="connsiteX89" fmla="*/ 377 w 10531"/>
              <a:gd name="connsiteY89" fmla="*/ 42 h 9620"/>
              <a:gd name="connsiteX90" fmla="*/ 377 w 10531"/>
              <a:gd name="connsiteY90" fmla="*/ 42 h 9620"/>
              <a:gd name="connsiteX91" fmla="*/ 391 w 10531"/>
              <a:gd name="connsiteY91" fmla="*/ 0 h 9620"/>
              <a:gd name="connsiteX92" fmla="*/ 391 w 10531"/>
              <a:gd name="connsiteY92" fmla="*/ 0 h 9620"/>
              <a:gd name="connsiteX0" fmla="*/ 371 w 10000"/>
              <a:gd name="connsiteY0" fmla="*/ 0 h 9889"/>
              <a:gd name="connsiteX1" fmla="*/ 371 w 10000"/>
              <a:gd name="connsiteY1" fmla="*/ 0 h 9889"/>
              <a:gd name="connsiteX2" fmla="*/ 8590 w 10000"/>
              <a:gd name="connsiteY2" fmla="*/ 0 h 9889"/>
              <a:gd name="connsiteX3" fmla="*/ 8796 w 10000"/>
              <a:gd name="connsiteY3" fmla="*/ 9889 h 9889"/>
              <a:gd name="connsiteX4" fmla="*/ 8509 w 10000"/>
              <a:gd name="connsiteY4" fmla="*/ 9795 h 9889"/>
              <a:gd name="connsiteX5" fmla="*/ 8193 w 10000"/>
              <a:gd name="connsiteY5" fmla="*/ 9584 h 9889"/>
              <a:gd name="connsiteX6" fmla="*/ 7879 w 10000"/>
              <a:gd name="connsiteY6" fmla="*/ 9367 h 9889"/>
              <a:gd name="connsiteX7" fmla="*/ 7569 w 10000"/>
              <a:gd name="connsiteY7" fmla="*/ 9146 h 9889"/>
              <a:gd name="connsiteX8" fmla="*/ 7260 w 10000"/>
              <a:gd name="connsiteY8" fmla="*/ 8924 h 9889"/>
              <a:gd name="connsiteX9" fmla="*/ 6957 w 10000"/>
              <a:gd name="connsiteY9" fmla="*/ 8691 h 9889"/>
              <a:gd name="connsiteX10" fmla="*/ 6957 w 10000"/>
              <a:gd name="connsiteY10" fmla="*/ 8691 h 9889"/>
              <a:gd name="connsiteX11" fmla="*/ 6604 w 10000"/>
              <a:gd name="connsiteY11" fmla="*/ 8426 h 9889"/>
              <a:gd name="connsiteX12" fmla="*/ 6604 w 10000"/>
              <a:gd name="connsiteY12" fmla="*/ 8426 h 9889"/>
              <a:gd name="connsiteX13" fmla="*/ 6725 w 10000"/>
              <a:gd name="connsiteY13" fmla="*/ 8220 h 9889"/>
              <a:gd name="connsiteX14" fmla="*/ 6836 w 10000"/>
              <a:gd name="connsiteY14" fmla="*/ 8016 h 9889"/>
              <a:gd name="connsiteX15" fmla="*/ 6836 w 10000"/>
              <a:gd name="connsiteY15" fmla="*/ 8016 h 9889"/>
              <a:gd name="connsiteX16" fmla="*/ 6885 w 10000"/>
              <a:gd name="connsiteY16" fmla="*/ 7918 h 9889"/>
              <a:gd name="connsiteX17" fmla="*/ 6927 w 10000"/>
              <a:gd name="connsiteY17" fmla="*/ 7816 h 9889"/>
              <a:gd name="connsiteX18" fmla="*/ 6969 w 10000"/>
              <a:gd name="connsiteY18" fmla="*/ 7713 h 9889"/>
              <a:gd name="connsiteX19" fmla="*/ 7006 w 10000"/>
              <a:gd name="connsiteY19" fmla="*/ 7610 h 9889"/>
              <a:gd name="connsiteX20" fmla="*/ 7035 w 10000"/>
              <a:gd name="connsiteY20" fmla="*/ 7501 h 9889"/>
              <a:gd name="connsiteX21" fmla="*/ 7059 w 10000"/>
              <a:gd name="connsiteY21" fmla="*/ 7399 h 9889"/>
              <a:gd name="connsiteX22" fmla="*/ 7072 w 10000"/>
              <a:gd name="connsiteY22" fmla="*/ 7291 h 9889"/>
              <a:gd name="connsiteX23" fmla="*/ 7084 w 10000"/>
              <a:gd name="connsiteY23" fmla="*/ 7177 h 9889"/>
              <a:gd name="connsiteX24" fmla="*/ 7084 w 10000"/>
              <a:gd name="connsiteY24" fmla="*/ 7177 h 9889"/>
              <a:gd name="connsiteX25" fmla="*/ 7090 w 10000"/>
              <a:gd name="connsiteY25" fmla="*/ 7053 h 9889"/>
              <a:gd name="connsiteX26" fmla="*/ 7079 w 10000"/>
              <a:gd name="connsiteY26" fmla="*/ 6928 h 9889"/>
              <a:gd name="connsiteX27" fmla="*/ 7059 w 10000"/>
              <a:gd name="connsiteY27" fmla="*/ 6809 h 9889"/>
              <a:gd name="connsiteX28" fmla="*/ 7031 w 10000"/>
              <a:gd name="connsiteY28" fmla="*/ 6691 h 9889"/>
              <a:gd name="connsiteX29" fmla="*/ 6987 w 10000"/>
              <a:gd name="connsiteY29" fmla="*/ 6577 h 9889"/>
              <a:gd name="connsiteX30" fmla="*/ 6934 w 10000"/>
              <a:gd name="connsiteY30" fmla="*/ 6464 h 9889"/>
              <a:gd name="connsiteX31" fmla="*/ 6865 w 10000"/>
              <a:gd name="connsiteY31" fmla="*/ 6354 h 9889"/>
              <a:gd name="connsiteX32" fmla="*/ 6793 w 10000"/>
              <a:gd name="connsiteY32" fmla="*/ 6247 h 9889"/>
              <a:gd name="connsiteX33" fmla="*/ 6793 w 10000"/>
              <a:gd name="connsiteY33" fmla="*/ 6247 h 9889"/>
              <a:gd name="connsiteX34" fmla="*/ 6714 w 10000"/>
              <a:gd name="connsiteY34" fmla="*/ 6150 h 9889"/>
              <a:gd name="connsiteX35" fmla="*/ 6629 w 10000"/>
              <a:gd name="connsiteY35" fmla="*/ 6052 h 9889"/>
              <a:gd name="connsiteX36" fmla="*/ 6539 w 10000"/>
              <a:gd name="connsiteY36" fmla="*/ 5966 h 9889"/>
              <a:gd name="connsiteX37" fmla="*/ 6442 w 10000"/>
              <a:gd name="connsiteY37" fmla="*/ 5879 h 9889"/>
              <a:gd name="connsiteX38" fmla="*/ 6338 w 10000"/>
              <a:gd name="connsiteY38" fmla="*/ 5797 h 9889"/>
              <a:gd name="connsiteX39" fmla="*/ 6236 w 10000"/>
              <a:gd name="connsiteY39" fmla="*/ 5721 h 9889"/>
              <a:gd name="connsiteX40" fmla="*/ 6126 w 10000"/>
              <a:gd name="connsiteY40" fmla="*/ 5647 h 9889"/>
              <a:gd name="connsiteX41" fmla="*/ 6017 w 10000"/>
              <a:gd name="connsiteY41" fmla="*/ 5576 h 9889"/>
              <a:gd name="connsiteX42" fmla="*/ 6017 w 10000"/>
              <a:gd name="connsiteY42" fmla="*/ 5576 h 9889"/>
              <a:gd name="connsiteX43" fmla="*/ 5853 w 10000"/>
              <a:gd name="connsiteY43" fmla="*/ 5473 h 9889"/>
              <a:gd name="connsiteX44" fmla="*/ 5690 w 10000"/>
              <a:gd name="connsiteY44" fmla="*/ 5381 h 9889"/>
              <a:gd name="connsiteX45" fmla="*/ 5526 w 10000"/>
              <a:gd name="connsiteY45" fmla="*/ 5290 h 9889"/>
              <a:gd name="connsiteX46" fmla="*/ 5357 w 10000"/>
              <a:gd name="connsiteY46" fmla="*/ 5204 h 9889"/>
              <a:gd name="connsiteX47" fmla="*/ 5187 w 10000"/>
              <a:gd name="connsiteY47" fmla="*/ 5122 h 9889"/>
              <a:gd name="connsiteX48" fmla="*/ 5012 w 10000"/>
              <a:gd name="connsiteY48" fmla="*/ 5041 h 9889"/>
              <a:gd name="connsiteX49" fmla="*/ 4835 w 10000"/>
              <a:gd name="connsiteY49" fmla="*/ 4965 h 9889"/>
              <a:gd name="connsiteX50" fmla="*/ 4661 w 10000"/>
              <a:gd name="connsiteY50" fmla="*/ 4889 h 9889"/>
              <a:gd name="connsiteX51" fmla="*/ 4661 w 10000"/>
              <a:gd name="connsiteY51" fmla="*/ 4889 h 9889"/>
              <a:gd name="connsiteX52" fmla="*/ 4078 w 10000"/>
              <a:gd name="connsiteY52" fmla="*/ 4663 h 9889"/>
              <a:gd name="connsiteX53" fmla="*/ 3502 w 10000"/>
              <a:gd name="connsiteY53" fmla="*/ 4435 h 9889"/>
              <a:gd name="connsiteX54" fmla="*/ 2346 w 10000"/>
              <a:gd name="connsiteY54" fmla="*/ 3986 h 9889"/>
              <a:gd name="connsiteX55" fmla="*/ 2346 w 10000"/>
              <a:gd name="connsiteY55" fmla="*/ 3986 h 9889"/>
              <a:gd name="connsiteX56" fmla="*/ 2152 w 10000"/>
              <a:gd name="connsiteY56" fmla="*/ 3911 h 9889"/>
              <a:gd name="connsiteX57" fmla="*/ 1958 w 10000"/>
              <a:gd name="connsiteY57" fmla="*/ 3828 h 9889"/>
              <a:gd name="connsiteX58" fmla="*/ 1769 w 10000"/>
              <a:gd name="connsiteY58" fmla="*/ 3742 h 9889"/>
              <a:gd name="connsiteX59" fmla="*/ 1587 w 10000"/>
              <a:gd name="connsiteY59" fmla="*/ 3651 h 9889"/>
              <a:gd name="connsiteX60" fmla="*/ 1413 w 10000"/>
              <a:gd name="connsiteY60" fmla="*/ 3548 h 9889"/>
              <a:gd name="connsiteX61" fmla="*/ 1242 w 10000"/>
              <a:gd name="connsiteY61" fmla="*/ 3440 h 9889"/>
              <a:gd name="connsiteX62" fmla="*/ 1073 w 10000"/>
              <a:gd name="connsiteY62" fmla="*/ 3326 h 9889"/>
              <a:gd name="connsiteX63" fmla="*/ 916 w 10000"/>
              <a:gd name="connsiteY63" fmla="*/ 3202 h 9889"/>
              <a:gd name="connsiteX64" fmla="*/ 916 w 10000"/>
              <a:gd name="connsiteY64" fmla="*/ 3202 h 9889"/>
              <a:gd name="connsiteX65" fmla="*/ 794 w 10000"/>
              <a:gd name="connsiteY65" fmla="*/ 3094 h 9889"/>
              <a:gd name="connsiteX66" fmla="*/ 679 w 10000"/>
              <a:gd name="connsiteY66" fmla="*/ 2985 h 9889"/>
              <a:gd name="connsiteX67" fmla="*/ 570 w 10000"/>
              <a:gd name="connsiteY67" fmla="*/ 2871 h 9889"/>
              <a:gd name="connsiteX68" fmla="*/ 480 w 10000"/>
              <a:gd name="connsiteY68" fmla="*/ 2758 h 9889"/>
              <a:gd name="connsiteX69" fmla="*/ 388 w 10000"/>
              <a:gd name="connsiteY69" fmla="*/ 2639 h 9889"/>
              <a:gd name="connsiteX70" fmla="*/ 310 w 10000"/>
              <a:gd name="connsiteY70" fmla="*/ 2516 h 9889"/>
              <a:gd name="connsiteX71" fmla="*/ 242 w 10000"/>
              <a:gd name="connsiteY71" fmla="*/ 2390 h 9889"/>
              <a:gd name="connsiteX72" fmla="*/ 177 w 10000"/>
              <a:gd name="connsiteY72" fmla="*/ 2266 h 9889"/>
              <a:gd name="connsiteX73" fmla="*/ 128 w 10000"/>
              <a:gd name="connsiteY73" fmla="*/ 2137 h 9889"/>
              <a:gd name="connsiteX74" fmla="*/ 85 w 10000"/>
              <a:gd name="connsiteY74" fmla="*/ 2001 h 9889"/>
              <a:gd name="connsiteX75" fmla="*/ 48 w 10000"/>
              <a:gd name="connsiteY75" fmla="*/ 1860 h 9889"/>
              <a:gd name="connsiteX76" fmla="*/ 24 w 10000"/>
              <a:gd name="connsiteY76" fmla="*/ 1720 h 9889"/>
              <a:gd name="connsiteX77" fmla="*/ 7 w 10000"/>
              <a:gd name="connsiteY77" fmla="*/ 1579 h 9889"/>
              <a:gd name="connsiteX78" fmla="*/ 0 w 10000"/>
              <a:gd name="connsiteY78" fmla="*/ 1432 h 9889"/>
              <a:gd name="connsiteX79" fmla="*/ 0 w 10000"/>
              <a:gd name="connsiteY79" fmla="*/ 1282 h 9889"/>
              <a:gd name="connsiteX80" fmla="*/ 11 w 10000"/>
              <a:gd name="connsiteY80" fmla="*/ 1130 h 9889"/>
              <a:gd name="connsiteX81" fmla="*/ 11 w 10000"/>
              <a:gd name="connsiteY81" fmla="*/ 1130 h 9889"/>
              <a:gd name="connsiteX82" fmla="*/ 31 w 10000"/>
              <a:gd name="connsiteY82" fmla="*/ 991 h 9889"/>
              <a:gd name="connsiteX83" fmla="*/ 55 w 10000"/>
              <a:gd name="connsiteY83" fmla="*/ 849 h 9889"/>
              <a:gd name="connsiteX84" fmla="*/ 92 w 10000"/>
              <a:gd name="connsiteY84" fmla="*/ 709 h 9889"/>
              <a:gd name="connsiteX85" fmla="*/ 128 w 10000"/>
              <a:gd name="connsiteY85" fmla="*/ 574 h 9889"/>
              <a:gd name="connsiteX86" fmla="*/ 177 w 10000"/>
              <a:gd name="connsiteY86" fmla="*/ 438 h 9889"/>
              <a:gd name="connsiteX87" fmla="*/ 231 w 10000"/>
              <a:gd name="connsiteY87" fmla="*/ 302 h 9889"/>
              <a:gd name="connsiteX88" fmla="*/ 286 w 10000"/>
              <a:gd name="connsiteY88" fmla="*/ 173 h 9889"/>
              <a:gd name="connsiteX89" fmla="*/ 358 w 10000"/>
              <a:gd name="connsiteY89" fmla="*/ 44 h 9889"/>
              <a:gd name="connsiteX90" fmla="*/ 358 w 10000"/>
              <a:gd name="connsiteY90" fmla="*/ 44 h 9889"/>
              <a:gd name="connsiteX91" fmla="*/ 371 w 10000"/>
              <a:gd name="connsiteY91" fmla="*/ 0 h 9889"/>
              <a:gd name="connsiteX92" fmla="*/ 371 w 10000"/>
              <a:gd name="connsiteY92" fmla="*/ 0 h 9889"/>
              <a:gd name="connsiteX0" fmla="*/ 371 w 10000"/>
              <a:gd name="connsiteY0" fmla="*/ 0 h 10000"/>
              <a:gd name="connsiteX1" fmla="*/ 371 w 10000"/>
              <a:gd name="connsiteY1" fmla="*/ 0 h 10000"/>
              <a:gd name="connsiteX2" fmla="*/ 8590 w 10000"/>
              <a:gd name="connsiteY2" fmla="*/ 0 h 10000"/>
              <a:gd name="connsiteX3" fmla="*/ 8796 w 10000"/>
              <a:gd name="connsiteY3" fmla="*/ 10000 h 10000"/>
              <a:gd name="connsiteX4" fmla="*/ 8509 w 10000"/>
              <a:gd name="connsiteY4" fmla="*/ 9905 h 10000"/>
              <a:gd name="connsiteX5" fmla="*/ 8193 w 10000"/>
              <a:gd name="connsiteY5" fmla="*/ 9692 h 10000"/>
              <a:gd name="connsiteX6" fmla="*/ 7879 w 10000"/>
              <a:gd name="connsiteY6" fmla="*/ 9472 h 10000"/>
              <a:gd name="connsiteX7" fmla="*/ 7569 w 10000"/>
              <a:gd name="connsiteY7" fmla="*/ 9249 h 10000"/>
              <a:gd name="connsiteX8" fmla="*/ 7260 w 10000"/>
              <a:gd name="connsiteY8" fmla="*/ 9024 h 10000"/>
              <a:gd name="connsiteX9" fmla="*/ 6957 w 10000"/>
              <a:gd name="connsiteY9" fmla="*/ 8789 h 10000"/>
              <a:gd name="connsiteX10" fmla="*/ 6957 w 10000"/>
              <a:gd name="connsiteY10" fmla="*/ 8789 h 10000"/>
              <a:gd name="connsiteX11" fmla="*/ 6604 w 10000"/>
              <a:gd name="connsiteY11" fmla="*/ 8521 h 10000"/>
              <a:gd name="connsiteX12" fmla="*/ 6604 w 10000"/>
              <a:gd name="connsiteY12" fmla="*/ 8521 h 10000"/>
              <a:gd name="connsiteX13" fmla="*/ 6725 w 10000"/>
              <a:gd name="connsiteY13" fmla="*/ 8312 h 10000"/>
              <a:gd name="connsiteX14" fmla="*/ 6836 w 10000"/>
              <a:gd name="connsiteY14" fmla="*/ 8106 h 10000"/>
              <a:gd name="connsiteX15" fmla="*/ 6836 w 10000"/>
              <a:gd name="connsiteY15" fmla="*/ 8106 h 10000"/>
              <a:gd name="connsiteX16" fmla="*/ 6885 w 10000"/>
              <a:gd name="connsiteY16" fmla="*/ 8007 h 10000"/>
              <a:gd name="connsiteX17" fmla="*/ 6927 w 10000"/>
              <a:gd name="connsiteY17" fmla="*/ 7904 h 10000"/>
              <a:gd name="connsiteX18" fmla="*/ 6969 w 10000"/>
              <a:gd name="connsiteY18" fmla="*/ 7800 h 10000"/>
              <a:gd name="connsiteX19" fmla="*/ 7006 w 10000"/>
              <a:gd name="connsiteY19" fmla="*/ 7695 h 10000"/>
              <a:gd name="connsiteX20" fmla="*/ 7035 w 10000"/>
              <a:gd name="connsiteY20" fmla="*/ 7585 h 10000"/>
              <a:gd name="connsiteX21" fmla="*/ 7059 w 10000"/>
              <a:gd name="connsiteY21" fmla="*/ 7482 h 10000"/>
              <a:gd name="connsiteX22" fmla="*/ 7072 w 10000"/>
              <a:gd name="connsiteY22" fmla="*/ 7373 h 10000"/>
              <a:gd name="connsiteX23" fmla="*/ 7084 w 10000"/>
              <a:gd name="connsiteY23" fmla="*/ 7258 h 10000"/>
              <a:gd name="connsiteX24" fmla="*/ 7084 w 10000"/>
              <a:gd name="connsiteY24" fmla="*/ 7258 h 10000"/>
              <a:gd name="connsiteX25" fmla="*/ 7090 w 10000"/>
              <a:gd name="connsiteY25" fmla="*/ 7132 h 10000"/>
              <a:gd name="connsiteX26" fmla="*/ 7079 w 10000"/>
              <a:gd name="connsiteY26" fmla="*/ 7006 h 10000"/>
              <a:gd name="connsiteX27" fmla="*/ 7059 w 10000"/>
              <a:gd name="connsiteY27" fmla="*/ 6885 h 10000"/>
              <a:gd name="connsiteX28" fmla="*/ 7031 w 10000"/>
              <a:gd name="connsiteY28" fmla="*/ 6766 h 10000"/>
              <a:gd name="connsiteX29" fmla="*/ 6987 w 10000"/>
              <a:gd name="connsiteY29" fmla="*/ 6651 h 10000"/>
              <a:gd name="connsiteX30" fmla="*/ 6934 w 10000"/>
              <a:gd name="connsiteY30" fmla="*/ 6537 h 10000"/>
              <a:gd name="connsiteX31" fmla="*/ 6865 w 10000"/>
              <a:gd name="connsiteY31" fmla="*/ 6425 h 10000"/>
              <a:gd name="connsiteX32" fmla="*/ 6793 w 10000"/>
              <a:gd name="connsiteY32" fmla="*/ 6317 h 10000"/>
              <a:gd name="connsiteX33" fmla="*/ 6793 w 10000"/>
              <a:gd name="connsiteY33" fmla="*/ 6317 h 10000"/>
              <a:gd name="connsiteX34" fmla="*/ 6714 w 10000"/>
              <a:gd name="connsiteY34" fmla="*/ 6219 h 10000"/>
              <a:gd name="connsiteX35" fmla="*/ 6629 w 10000"/>
              <a:gd name="connsiteY35" fmla="*/ 6120 h 10000"/>
              <a:gd name="connsiteX36" fmla="*/ 6539 w 10000"/>
              <a:gd name="connsiteY36" fmla="*/ 6033 h 10000"/>
              <a:gd name="connsiteX37" fmla="*/ 6442 w 10000"/>
              <a:gd name="connsiteY37" fmla="*/ 5945 h 10000"/>
              <a:gd name="connsiteX38" fmla="*/ 6338 w 10000"/>
              <a:gd name="connsiteY38" fmla="*/ 5862 h 10000"/>
              <a:gd name="connsiteX39" fmla="*/ 6236 w 10000"/>
              <a:gd name="connsiteY39" fmla="*/ 5785 h 10000"/>
              <a:gd name="connsiteX40" fmla="*/ 6126 w 10000"/>
              <a:gd name="connsiteY40" fmla="*/ 5710 h 10000"/>
              <a:gd name="connsiteX41" fmla="*/ 6017 w 10000"/>
              <a:gd name="connsiteY41" fmla="*/ 5639 h 10000"/>
              <a:gd name="connsiteX42" fmla="*/ 6017 w 10000"/>
              <a:gd name="connsiteY42" fmla="*/ 5639 h 10000"/>
              <a:gd name="connsiteX43" fmla="*/ 5853 w 10000"/>
              <a:gd name="connsiteY43" fmla="*/ 5534 h 10000"/>
              <a:gd name="connsiteX44" fmla="*/ 5690 w 10000"/>
              <a:gd name="connsiteY44" fmla="*/ 5441 h 10000"/>
              <a:gd name="connsiteX45" fmla="*/ 5526 w 10000"/>
              <a:gd name="connsiteY45" fmla="*/ 5349 h 10000"/>
              <a:gd name="connsiteX46" fmla="*/ 5357 w 10000"/>
              <a:gd name="connsiteY46" fmla="*/ 5262 h 10000"/>
              <a:gd name="connsiteX47" fmla="*/ 5187 w 10000"/>
              <a:gd name="connsiteY47" fmla="*/ 5179 h 10000"/>
              <a:gd name="connsiteX48" fmla="*/ 5012 w 10000"/>
              <a:gd name="connsiteY48" fmla="*/ 5098 h 10000"/>
              <a:gd name="connsiteX49" fmla="*/ 4835 w 10000"/>
              <a:gd name="connsiteY49" fmla="*/ 5021 h 10000"/>
              <a:gd name="connsiteX50" fmla="*/ 4661 w 10000"/>
              <a:gd name="connsiteY50" fmla="*/ 4944 h 10000"/>
              <a:gd name="connsiteX51" fmla="*/ 4661 w 10000"/>
              <a:gd name="connsiteY51" fmla="*/ 4944 h 10000"/>
              <a:gd name="connsiteX52" fmla="*/ 4078 w 10000"/>
              <a:gd name="connsiteY52" fmla="*/ 4715 h 10000"/>
              <a:gd name="connsiteX53" fmla="*/ 3502 w 10000"/>
              <a:gd name="connsiteY53" fmla="*/ 4485 h 10000"/>
              <a:gd name="connsiteX54" fmla="*/ 2346 w 10000"/>
              <a:gd name="connsiteY54" fmla="*/ 4031 h 10000"/>
              <a:gd name="connsiteX55" fmla="*/ 2346 w 10000"/>
              <a:gd name="connsiteY55" fmla="*/ 4031 h 10000"/>
              <a:gd name="connsiteX56" fmla="*/ 2152 w 10000"/>
              <a:gd name="connsiteY56" fmla="*/ 3955 h 10000"/>
              <a:gd name="connsiteX57" fmla="*/ 1958 w 10000"/>
              <a:gd name="connsiteY57" fmla="*/ 3871 h 10000"/>
              <a:gd name="connsiteX58" fmla="*/ 1769 w 10000"/>
              <a:gd name="connsiteY58" fmla="*/ 3784 h 10000"/>
              <a:gd name="connsiteX59" fmla="*/ 1587 w 10000"/>
              <a:gd name="connsiteY59" fmla="*/ 3692 h 10000"/>
              <a:gd name="connsiteX60" fmla="*/ 1413 w 10000"/>
              <a:gd name="connsiteY60" fmla="*/ 3588 h 10000"/>
              <a:gd name="connsiteX61" fmla="*/ 1242 w 10000"/>
              <a:gd name="connsiteY61" fmla="*/ 3479 h 10000"/>
              <a:gd name="connsiteX62" fmla="*/ 1073 w 10000"/>
              <a:gd name="connsiteY62" fmla="*/ 3363 h 10000"/>
              <a:gd name="connsiteX63" fmla="*/ 916 w 10000"/>
              <a:gd name="connsiteY63" fmla="*/ 3238 h 10000"/>
              <a:gd name="connsiteX64" fmla="*/ 916 w 10000"/>
              <a:gd name="connsiteY64" fmla="*/ 3238 h 10000"/>
              <a:gd name="connsiteX65" fmla="*/ 794 w 10000"/>
              <a:gd name="connsiteY65" fmla="*/ 3129 h 10000"/>
              <a:gd name="connsiteX66" fmla="*/ 679 w 10000"/>
              <a:gd name="connsiteY66" fmla="*/ 3019 h 10000"/>
              <a:gd name="connsiteX67" fmla="*/ 570 w 10000"/>
              <a:gd name="connsiteY67" fmla="*/ 2903 h 10000"/>
              <a:gd name="connsiteX68" fmla="*/ 480 w 10000"/>
              <a:gd name="connsiteY68" fmla="*/ 2789 h 10000"/>
              <a:gd name="connsiteX69" fmla="*/ 388 w 10000"/>
              <a:gd name="connsiteY69" fmla="*/ 2669 h 10000"/>
              <a:gd name="connsiteX70" fmla="*/ 310 w 10000"/>
              <a:gd name="connsiteY70" fmla="*/ 2544 h 10000"/>
              <a:gd name="connsiteX71" fmla="*/ 242 w 10000"/>
              <a:gd name="connsiteY71" fmla="*/ 2417 h 10000"/>
              <a:gd name="connsiteX72" fmla="*/ 177 w 10000"/>
              <a:gd name="connsiteY72" fmla="*/ 2291 h 10000"/>
              <a:gd name="connsiteX73" fmla="*/ 128 w 10000"/>
              <a:gd name="connsiteY73" fmla="*/ 2161 h 10000"/>
              <a:gd name="connsiteX74" fmla="*/ 85 w 10000"/>
              <a:gd name="connsiteY74" fmla="*/ 2023 h 10000"/>
              <a:gd name="connsiteX75" fmla="*/ 48 w 10000"/>
              <a:gd name="connsiteY75" fmla="*/ 1881 h 10000"/>
              <a:gd name="connsiteX76" fmla="*/ 24 w 10000"/>
              <a:gd name="connsiteY76" fmla="*/ 1739 h 10000"/>
              <a:gd name="connsiteX77" fmla="*/ 7 w 10000"/>
              <a:gd name="connsiteY77" fmla="*/ 1597 h 10000"/>
              <a:gd name="connsiteX78" fmla="*/ 0 w 10000"/>
              <a:gd name="connsiteY78" fmla="*/ 1448 h 10000"/>
              <a:gd name="connsiteX79" fmla="*/ 0 w 10000"/>
              <a:gd name="connsiteY79" fmla="*/ 1296 h 10000"/>
              <a:gd name="connsiteX80" fmla="*/ 11 w 10000"/>
              <a:gd name="connsiteY80" fmla="*/ 1143 h 10000"/>
              <a:gd name="connsiteX81" fmla="*/ 11 w 10000"/>
              <a:gd name="connsiteY81" fmla="*/ 1143 h 10000"/>
              <a:gd name="connsiteX82" fmla="*/ 31 w 10000"/>
              <a:gd name="connsiteY82" fmla="*/ 1002 h 10000"/>
              <a:gd name="connsiteX83" fmla="*/ 55 w 10000"/>
              <a:gd name="connsiteY83" fmla="*/ 859 h 10000"/>
              <a:gd name="connsiteX84" fmla="*/ 92 w 10000"/>
              <a:gd name="connsiteY84" fmla="*/ 717 h 10000"/>
              <a:gd name="connsiteX85" fmla="*/ 128 w 10000"/>
              <a:gd name="connsiteY85" fmla="*/ 580 h 10000"/>
              <a:gd name="connsiteX86" fmla="*/ 177 w 10000"/>
              <a:gd name="connsiteY86" fmla="*/ 443 h 10000"/>
              <a:gd name="connsiteX87" fmla="*/ 231 w 10000"/>
              <a:gd name="connsiteY87" fmla="*/ 305 h 10000"/>
              <a:gd name="connsiteX88" fmla="*/ 286 w 10000"/>
              <a:gd name="connsiteY88" fmla="*/ 175 h 10000"/>
              <a:gd name="connsiteX89" fmla="*/ 358 w 10000"/>
              <a:gd name="connsiteY89" fmla="*/ 44 h 10000"/>
              <a:gd name="connsiteX90" fmla="*/ 358 w 10000"/>
              <a:gd name="connsiteY90" fmla="*/ 44 h 10000"/>
              <a:gd name="connsiteX91" fmla="*/ 371 w 10000"/>
              <a:gd name="connsiteY91" fmla="*/ 0 h 10000"/>
              <a:gd name="connsiteX92" fmla="*/ 371 w 10000"/>
              <a:gd name="connsiteY92" fmla="*/ 0 h 10000"/>
              <a:gd name="connsiteX0" fmla="*/ 371 w 9946"/>
              <a:gd name="connsiteY0" fmla="*/ 0 h 11520"/>
              <a:gd name="connsiteX1" fmla="*/ 371 w 9946"/>
              <a:gd name="connsiteY1" fmla="*/ 0 h 11520"/>
              <a:gd name="connsiteX2" fmla="*/ 8590 w 9946"/>
              <a:gd name="connsiteY2" fmla="*/ 0 h 11520"/>
              <a:gd name="connsiteX3" fmla="*/ 8509 w 9946"/>
              <a:gd name="connsiteY3" fmla="*/ 9905 h 11520"/>
              <a:gd name="connsiteX4" fmla="*/ 8193 w 9946"/>
              <a:gd name="connsiteY4" fmla="*/ 9692 h 11520"/>
              <a:gd name="connsiteX5" fmla="*/ 7879 w 9946"/>
              <a:gd name="connsiteY5" fmla="*/ 9472 h 11520"/>
              <a:gd name="connsiteX6" fmla="*/ 7569 w 9946"/>
              <a:gd name="connsiteY6" fmla="*/ 9249 h 11520"/>
              <a:gd name="connsiteX7" fmla="*/ 7260 w 9946"/>
              <a:gd name="connsiteY7" fmla="*/ 9024 h 11520"/>
              <a:gd name="connsiteX8" fmla="*/ 6957 w 9946"/>
              <a:gd name="connsiteY8" fmla="*/ 8789 h 11520"/>
              <a:gd name="connsiteX9" fmla="*/ 6957 w 9946"/>
              <a:gd name="connsiteY9" fmla="*/ 8789 h 11520"/>
              <a:gd name="connsiteX10" fmla="*/ 6604 w 9946"/>
              <a:gd name="connsiteY10" fmla="*/ 8521 h 11520"/>
              <a:gd name="connsiteX11" fmla="*/ 6604 w 9946"/>
              <a:gd name="connsiteY11" fmla="*/ 8521 h 11520"/>
              <a:gd name="connsiteX12" fmla="*/ 6725 w 9946"/>
              <a:gd name="connsiteY12" fmla="*/ 8312 h 11520"/>
              <a:gd name="connsiteX13" fmla="*/ 6836 w 9946"/>
              <a:gd name="connsiteY13" fmla="*/ 8106 h 11520"/>
              <a:gd name="connsiteX14" fmla="*/ 6836 w 9946"/>
              <a:gd name="connsiteY14" fmla="*/ 8106 h 11520"/>
              <a:gd name="connsiteX15" fmla="*/ 6885 w 9946"/>
              <a:gd name="connsiteY15" fmla="*/ 8007 h 11520"/>
              <a:gd name="connsiteX16" fmla="*/ 6927 w 9946"/>
              <a:gd name="connsiteY16" fmla="*/ 7904 h 11520"/>
              <a:gd name="connsiteX17" fmla="*/ 6969 w 9946"/>
              <a:gd name="connsiteY17" fmla="*/ 7800 h 11520"/>
              <a:gd name="connsiteX18" fmla="*/ 7006 w 9946"/>
              <a:gd name="connsiteY18" fmla="*/ 7695 h 11520"/>
              <a:gd name="connsiteX19" fmla="*/ 7035 w 9946"/>
              <a:gd name="connsiteY19" fmla="*/ 7585 h 11520"/>
              <a:gd name="connsiteX20" fmla="*/ 7059 w 9946"/>
              <a:gd name="connsiteY20" fmla="*/ 7482 h 11520"/>
              <a:gd name="connsiteX21" fmla="*/ 7072 w 9946"/>
              <a:gd name="connsiteY21" fmla="*/ 7373 h 11520"/>
              <a:gd name="connsiteX22" fmla="*/ 7084 w 9946"/>
              <a:gd name="connsiteY22" fmla="*/ 7258 h 11520"/>
              <a:gd name="connsiteX23" fmla="*/ 7084 w 9946"/>
              <a:gd name="connsiteY23" fmla="*/ 7258 h 11520"/>
              <a:gd name="connsiteX24" fmla="*/ 7090 w 9946"/>
              <a:gd name="connsiteY24" fmla="*/ 7132 h 11520"/>
              <a:gd name="connsiteX25" fmla="*/ 7079 w 9946"/>
              <a:gd name="connsiteY25" fmla="*/ 7006 h 11520"/>
              <a:gd name="connsiteX26" fmla="*/ 7059 w 9946"/>
              <a:gd name="connsiteY26" fmla="*/ 6885 h 11520"/>
              <a:gd name="connsiteX27" fmla="*/ 7031 w 9946"/>
              <a:gd name="connsiteY27" fmla="*/ 6766 h 11520"/>
              <a:gd name="connsiteX28" fmla="*/ 6987 w 9946"/>
              <a:gd name="connsiteY28" fmla="*/ 6651 h 11520"/>
              <a:gd name="connsiteX29" fmla="*/ 6934 w 9946"/>
              <a:gd name="connsiteY29" fmla="*/ 6537 h 11520"/>
              <a:gd name="connsiteX30" fmla="*/ 6865 w 9946"/>
              <a:gd name="connsiteY30" fmla="*/ 6425 h 11520"/>
              <a:gd name="connsiteX31" fmla="*/ 6793 w 9946"/>
              <a:gd name="connsiteY31" fmla="*/ 6317 h 11520"/>
              <a:gd name="connsiteX32" fmla="*/ 6793 w 9946"/>
              <a:gd name="connsiteY32" fmla="*/ 6317 h 11520"/>
              <a:gd name="connsiteX33" fmla="*/ 6714 w 9946"/>
              <a:gd name="connsiteY33" fmla="*/ 6219 h 11520"/>
              <a:gd name="connsiteX34" fmla="*/ 6629 w 9946"/>
              <a:gd name="connsiteY34" fmla="*/ 6120 h 11520"/>
              <a:gd name="connsiteX35" fmla="*/ 6539 w 9946"/>
              <a:gd name="connsiteY35" fmla="*/ 6033 h 11520"/>
              <a:gd name="connsiteX36" fmla="*/ 6442 w 9946"/>
              <a:gd name="connsiteY36" fmla="*/ 5945 h 11520"/>
              <a:gd name="connsiteX37" fmla="*/ 6338 w 9946"/>
              <a:gd name="connsiteY37" fmla="*/ 5862 h 11520"/>
              <a:gd name="connsiteX38" fmla="*/ 6236 w 9946"/>
              <a:gd name="connsiteY38" fmla="*/ 5785 h 11520"/>
              <a:gd name="connsiteX39" fmla="*/ 6126 w 9946"/>
              <a:gd name="connsiteY39" fmla="*/ 5710 h 11520"/>
              <a:gd name="connsiteX40" fmla="*/ 6017 w 9946"/>
              <a:gd name="connsiteY40" fmla="*/ 5639 h 11520"/>
              <a:gd name="connsiteX41" fmla="*/ 6017 w 9946"/>
              <a:gd name="connsiteY41" fmla="*/ 5639 h 11520"/>
              <a:gd name="connsiteX42" fmla="*/ 5853 w 9946"/>
              <a:gd name="connsiteY42" fmla="*/ 5534 h 11520"/>
              <a:gd name="connsiteX43" fmla="*/ 5690 w 9946"/>
              <a:gd name="connsiteY43" fmla="*/ 5441 h 11520"/>
              <a:gd name="connsiteX44" fmla="*/ 5526 w 9946"/>
              <a:gd name="connsiteY44" fmla="*/ 5349 h 11520"/>
              <a:gd name="connsiteX45" fmla="*/ 5357 w 9946"/>
              <a:gd name="connsiteY45" fmla="*/ 5262 h 11520"/>
              <a:gd name="connsiteX46" fmla="*/ 5187 w 9946"/>
              <a:gd name="connsiteY46" fmla="*/ 5179 h 11520"/>
              <a:gd name="connsiteX47" fmla="*/ 5012 w 9946"/>
              <a:gd name="connsiteY47" fmla="*/ 5098 h 11520"/>
              <a:gd name="connsiteX48" fmla="*/ 4835 w 9946"/>
              <a:gd name="connsiteY48" fmla="*/ 5021 h 11520"/>
              <a:gd name="connsiteX49" fmla="*/ 4661 w 9946"/>
              <a:gd name="connsiteY49" fmla="*/ 4944 h 11520"/>
              <a:gd name="connsiteX50" fmla="*/ 4661 w 9946"/>
              <a:gd name="connsiteY50" fmla="*/ 4944 h 11520"/>
              <a:gd name="connsiteX51" fmla="*/ 4078 w 9946"/>
              <a:gd name="connsiteY51" fmla="*/ 4715 h 11520"/>
              <a:gd name="connsiteX52" fmla="*/ 3502 w 9946"/>
              <a:gd name="connsiteY52" fmla="*/ 4485 h 11520"/>
              <a:gd name="connsiteX53" fmla="*/ 2346 w 9946"/>
              <a:gd name="connsiteY53" fmla="*/ 4031 h 11520"/>
              <a:gd name="connsiteX54" fmla="*/ 2346 w 9946"/>
              <a:gd name="connsiteY54" fmla="*/ 4031 h 11520"/>
              <a:gd name="connsiteX55" fmla="*/ 2152 w 9946"/>
              <a:gd name="connsiteY55" fmla="*/ 3955 h 11520"/>
              <a:gd name="connsiteX56" fmla="*/ 1958 w 9946"/>
              <a:gd name="connsiteY56" fmla="*/ 3871 h 11520"/>
              <a:gd name="connsiteX57" fmla="*/ 1769 w 9946"/>
              <a:gd name="connsiteY57" fmla="*/ 3784 h 11520"/>
              <a:gd name="connsiteX58" fmla="*/ 1587 w 9946"/>
              <a:gd name="connsiteY58" fmla="*/ 3692 h 11520"/>
              <a:gd name="connsiteX59" fmla="*/ 1413 w 9946"/>
              <a:gd name="connsiteY59" fmla="*/ 3588 h 11520"/>
              <a:gd name="connsiteX60" fmla="*/ 1242 w 9946"/>
              <a:gd name="connsiteY60" fmla="*/ 3479 h 11520"/>
              <a:gd name="connsiteX61" fmla="*/ 1073 w 9946"/>
              <a:gd name="connsiteY61" fmla="*/ 3363 h 11520"/>
              <a:gd name="connsiteX62" fmla="*/ 916 w 9946"/>
              <a:gd name="connsiteY62" fmla="*/ 3238 h 11520"/>
              <a:gd name="connsiteX63" fmla="*/ 916 w 9946"/>
              <a:gd name="connsiteY63" fmla="*/ 3238 h 11520"/>
              <a:gd name="connsiteX64" fmla="*/ 794 w 9946"/>
              <a:gd name="connsiteY64" fmla="*/ 3129 h 11520"/>
              <a:gd name="connsiteX65" fmla="*/ 679 w 9946"/>
              <a:gd name="connsiteY65" fmla="*/ 3019 h 11520"/>
              <a:gd name="connsiteX66" fmla="*/ 570 w 9946"/>
              <a:gd name="connsiteY66" fmla="*/ 2903 h 11520"/>
              <a:gd name="connsiteX67" fmla="*/ 480 w 9946"/>
              <a:gd name="connsiteY67" fmla="*/ 2789 h 11520"/>
              <a:gd name="connsiteX68" fmla="*/ 388 w 9946"/>
              <a:gd name="connsiteY68" fmla="*/ 2669 h 11520"/>
              <a:gd name="connsiteX69" fmla="*/ 310 w 9946"/>
              <a:gd name="connsiteY69" fmla="*/ 2544 h 11520"/>
              <a:gd name="connsiteX70" fmla="*/ 242 w 9946"/>
              <a:gd name="connsiteY70" fmla="*/ 2417 h 11520"/>
              <a:gd name="connsiteX71" fmla="*/ 177 w 9946"/>
              <a:gd name="connsiteY71" fmla="*/ 2291 h 11520"/>
              <a:gd name="connsiteX72" fmla="*/ 128 w 9946"/>
              <a:gd name="connsiteY72" fmla="*/ 2161 h 11520"/>
              <a:gd name="connsiteX73" fmla="*/ 85 w 9946"/>
              <a:gd name="connsiteY73" fmla="*/ 2023 h 11520"/>
              <a:gd name="connsiteX74" fmla="*/ 48 w 9946"/>
              <a:gd name="connsiteY74" fmla="*/ 1881 h 11520"/>
              <a:gd name="connsiteX75" fmla="*/ 24 w 9946"/>
              <a:gd name="connsiteY75" fmla="*/ 1739 h 11520"/>
              <a:gd name="connsiteX76" fmla="*/ 7 w 9946"/>
              <a:gd name="connsiteY76" fmla="*/ 1597 h 11520"/>
              <a:gd name="connsiteX77" fmla="*/ 0 w 9946"/>
              <a:gd name="connsiteY77" fmla="*/ 1448 h 11520"/>
              <a:gd name="connsiteX78" fmla="*/ 0 w 9946"/>
              <a:gd name="connsiteY78" fmla="*/ 1296 h 11520"/>
              <a:gd name="connsiteX79" fmla="*/ 11 w 9946"/>
              <a:gd name="connsiteY79" fmla="*/ 1143 h 11520"/>
              <a:gd name="connsiteX80" fmla="*/ 11 w 9946"/>
              <a:gd name="connsiteY80" fmla="*/ 1143 h 11520"/>
              <a:gd name="connsiteX81" fmla="*/ 31 w 9946"/>
              <a:gd name="connsiteY81" fmla="*/ 1002 h 11520"/>
              <a:gd name="connsiteX82" fmla="*/ 55 w 9946"/>
              <a:gd name="connsiteY82" fmla="*/ 859 h 11520"/>
              <a:gd name="connsiteX83" fmla="*/ 92 w 9946"/>
              <a:gd name="connsiteY83" fmla="*/ 717 h 11520"/>
              <a:gd name="connsiteX84" fmla="*/ 128 w 9946"/>
              <a:gd name="connsiteY84" fmla="*/ 580 h 11520"/>
              <a:gd name="connsiteX85" fmla="*/ 177 w 9946"/>
              <a:gd name="connsiteY85" fmla="*/ 443 h 11520"/>
              <a:gd name="connsiteX86" fmla="*/ 231 w 9946"/>
              <a:gd name="connsiteY86" fmla="*/ 305 h 11520"/>
              <a:gd name="connsiteX87" fmla="*/ 286 w 9946"/>
              <a:gd name="connsiteY87" fmla="*/ 175 h 11520"/>
              <a:gd name="connsiteX88" fmla="*/ 358 w 9946"/>
              <a:gd name="connsiteY88" fmla="*/ 44 h 11520"/>
              <a:gd name="connsiteX89" fmla="*/ 358 w 9946"/>
              <a:gd name="connsiteY89" fmla="*/ 44 h 11520"/>
              <a:gd name="connsiteX90" fmla="*/ 371 w 9946"/>
              <a:gd name="connsiteY90" fmla="*/ 0 h 11520"/>
              <a:gd name="connsiteX91" fmla="*/ 371 w 9946"/>
              <a:gd name="connsiteY91" fmla="*/ 0 h 11520"/>
              <a:gd name="connsiteX0" fmla="*/ 373 w 8622"/>
              <a:gd name="connsiteY0" fmla="*/ 0 h 10000"/>
              <a:gd name="connsiteX1" fmla="*/ 373 w 8622"/>
              <a:gd name="connsiteY1" fmla="*/ 0 h 10000"/>
              <a:gd name="connsiteX2" fmla="*/ 7185 w 8622"/>
              <a:gd name="connsiteY2" fmla="*/ 0 h 10000"/>
              <a:gd name="connsiteX3" fmla="*/ 8555 w 8622"/>
              <a:gd name="connsiteY3" fmla="*/ 8598 h 10000"/>
              <a:gd name="connsiteX4" fmla="*/ 8237 w 8622"/>
              <a:gd name="connsiteY4" fmla="*/ 8413 h 10000"/>
              <a:gd name="connsiteX5" fmla="*/ 7922 w 8622"/>
              <a:gd name="connsiteY5" fmla="*/ 8222 h 10000"/>
              <a:gd name="connsiteX6" fmla="*/ 7610 w 8622"/>
              <a:gd name="connsiteY6" fmla="*/ 8029 h 10000"/>
              <a:gd name="connsiteX7" fmla="*/ 7299 w 8622"/>
              <a:gd name="connsiteY7" fmla="*/ 7833 h 10000"/>
              <a:gd name="connsiteX8" fmla="*/ 6995 w 8622"/>
              <a:gd name="connsiteY8" fmla="*/ 7629 h 10000"/>
              <a:gd name="connsiteX9" fmla="*/ 6995 w 8622"/>
              <a:gd name="connsiteY9" fmla="*/ 7629 h 10000"/>
              <a:gd name="connsiteX10" fmla="*/ 6640 w 8622"/>
              <a:gd name="connsiteY10" fmla="*/ 7397 h 10000"/>
              <a:gd name="connsiteX11" fmla="*/ 6640 w 8622"/>
              <a:gd name="connsiteY11" fmla="*/ 7397 h 10000"/>
              <a:gd name="connsiteX12" fmla="*/ 6762 w 8622"/>
              <a:gd name="connsiteY12" fmla="*/ 7215 h 10000"/>
              <a:gd name="connsiteX13" fmla="*/ 6873 w 8622"/>
              <a:gd name="connsiteY13" fmla="*/ 7036 h 10000"/>
              <a:gd name="connsiteX14" fmla="*/ 6873 w 8622"/>
              <a:gd name="connsiteY14" fmla="*/ 7036 h 10000"/>
              <a:gd name="connsiteX15" fmla="*/ 6922 w 8622"/>
              <a:gd name="connsiteY15" fmla="*/ 6951 h 10000"/>
              <a:gd name="connsiteX16" fmla="*/ 6965 w 8622"/>
              <a:gd name="connsiteY16" fmla="*/ 6861 h 10000"/>
              <a:gd name="connsiteX17" fmla="*/ 7007 w 8622"/>
              <a:gd name="connsiteY17" fmla="*/ 6771 h 10000"/>
              <a:gd name="connsiteX18" fmla="*/ 7044 w 8622"/>
              <a:gd name="connsiteY18" fmla="*/ 6680 h 10000"/>
              <a:gd name="connsiteX19" fmla="*/ 7073 w 8622"/>
              <a:gd name="connsiteY19" fmla="*/ 6584 h 10000"/>
              <a:gd name="connsiteX20" fmla="*/ 7097 w 8622"/>
              <a:gd name="connsiteY20" fmla="*/ 6495 h 10000"/>
              <a:gd name="connsiteX21" fmla="*/ 7110 w 8622"/>
              <a:gd name="connsiteY21" fmla="*/ 6400 h 10000"/>
              <a:gd name="connsiteX22" fmla="*/ 7122 w 8622"/>
              <a:gd name="connsiteY22" fmla="*/ 6300 h 10000"/>
              <a:gd name="connsiteX23" fmla="*/ 7122 w 8622"/>
              <a:gd name="connsiteY23" fmla="*/ 6300 h 10000"/>
              <a:gd name="connsiteX24" fmla="*/ 7128 w 8622"/>
              <a:gd name="connsiteY24" fmla="*/ 6191 h 10000"/>
              <a:gd name="connsiteX25" fmla="*/ 7117 w 8622"/>
              <a:gd name="connsiteY25" fmla="*/ 6082 h 10000"/>
              <a:gd name="connsiteX26" fmla="*/ 7097 w 8622"/>
              <a:gd name="connsiteY26" fmla="*/ 5977 h 10000"/>
              <a:gd name="connsiteX27" fmla="*/ 7069 w 8622"/>
              <a:gd name="connsiteY27" fmla="*/ 5873 h 10000"/>
              <a:gd name="connsiteX28" fmla="*/ 7025 w 8622"/>
              <a:gd name="connsiteY28" fmla="*/ 5773 h 10000"/>
              <a:gd name="connsiteX29" fmla="*/ 6972 w 8622"/>
              <a:gd name="connsiteY29" fmla="*/ 5674 h 10000"/>
              <a:gd name="connsiteX30" fmla="*/ 6902 w 8622"/>
              <a:gd name="connsiteY30" fmla="*/ 5577 h 10000"/>
              <a:gd name="connsiteX31" fmla="*/ 6830 w 8622"/>
              <a:gd name="connsiteY31" fmla="*/ 5484 h 10000"/>
              <a:gd name="connsiteX32" fmla="*/ 6830 w 8622"/>
              <a:gd name="connsiteY32" fmla="*/ 5484 h 10000"/>
              <a:gd name="connsiteX33" fmla="*/ 6750 w 8622"/>
              <a:gd name="connsiteY33" fmla="*/ 5398 h 10000"/>
              <a:gd name="connsiteX34" fmla="*/ 6665 w 8622"/>
              <a:gd name="connsiteY34" fmla="*/ 5313 h 10000"/>
              <a:gd name="connsiteX35" fmla="*/ 6575 w 8622"/>
              <a:gd name="connsiteY35" fmla="*/ 5237 h 10000"/>
              <a:gd name="connsiteX36" fmla="*/ 6477 w 8622"/>
              <a:gd name="connsiteY36" fmla="*/ 5161 h 10000"/>
              <a:gd name="connsiteX37" fmla="*/ 6372 w 8622"/>
              <a:gd name="connsiteY37" fmla="*/ 5089 h 10000"/>
              <a:gd name="connsiteX38" fmla="*/ 6270 w 8622"/>
              <a:gd name="connsiteY38" fmla="*/ 5022 h 10000"/>
              <a:gd name="connsiteX39" fmla="*/ 6159 w 8622"/>
              <a:gd name="connsiteY39" fmla="*/ 4957 h 10000"/>
              <a:gd name="connsiteX40" fmla="*/ 6050 w 8622"/>
              <a:gd name="connsiteY40" fmla="*/ 4895 h 10000"/>
              <a:gd name="connsiteX41" fmla="*/ 6050 w 8622"/>
              <a:gd name="connsiteY41" fmla="*/ 4895 h 10000"/>
              <a:gd name="connsiteX42" fmla="*/ 5885 w 8622"/>
              <a:gd name="connsiteY42" fmla="*/ 4804 h 10000"/>
              <a:gd name="connsiteX43" fmla="*/ 5721 w 8622"/>
              <a:gd name="connsiteY43" fmla="*/ 4723 h 10000"/>
              <a:gd name="connsiteX44" fmla="*/ 5556 w 8622"/>
              <a:gd name="connsiteY44" fmla="*/ 4643 h 10000"/>
              <a:gd name="connsiteX45" fmla="*/ 5386 w 8622"/>
              <a:gd name="connsiteY45" fmla="*/ 4568 h 10000"/>
              <a:gd name="connsiteX46" fmla="*/ 5215 w 8622"/>
              <a:gd name="connsiteY46" fmla="*/ 4496 h 10000"/>
              <a:gd name="connsiteX47" fmla="*/ 5039 w 8622"/>
              <a:gd name="connsiteY47" fmla="*/ 4425 h 10000"/>
              <a:gd name="connsiteX48" fmla="*/ 4861 w 8622"/>
              <a:gd name="connsiteY48" fmla="*/ 4359 h 10000"/>
              <a:gd name="connsiteX49" fmla="*/ 4686 w 8622"/>
              <a:gd name="connsiteY49" fmla="*/ 4292 h 10000"/>
              <a:gd name="connsiteX50" fmla="*/ 4686 w 8622"/>
              <a:gd name="connsiteY50" fmla="*/ 4292 h 10000"/>
              <a:gd name="connsiteX51" fmla="*/ 4100 w 8622"/>
              <a:gd name="connsiteY51" fmla="*/ 4093 h 10000"/>
              <a:gd name="connsiteX52" fmla="*/ 3521 w 8622"/>
              <a:gd name="connsiteY52" fmla="*/ 3893 h 10000"/>
              <a:gd name="connsiteX53" fmla="*/ 2359 w 8622"/>
              <a:gd name="connsiteY53" fmla="*/ 3499 h 10000"/>
              <a:gd name="connsiteX54" fmla="*/ 2359 w 8622"/>
              <a:gd name="connsiteY54" fmla="*/ 3499 h 10000"/>
              <a:gd name="connsiteX55" fmla="*/ 2164 w 8622"/>
              <a:gd name="connsiteY55" fmla="*/ 3433 h 10000"/>
              <a:gd name="connsiteX56" fmla="*/ 1969 w 8622"/>
              <a:gd name="connsiteY56" fmla="*/ 3360 h 10000"/>
              <a:gd name="connsiteX57" fmla="*/ 1779 w 8622"/>
              <a:gd name="connsiteY57" fmla="*/ 3285 h 10000"/>
              <a:gd name="connsiteX58" fmla="*/ 1596 w 8622"/>
              <a:gd name="connsiteY58" fmla="*/ 3205 h 10000"/>
              <a:gd name="connsiteX59" fmla="*/ 1421 w 8622"/>
              <a:gd name="connsiteY59" fmla="*/ 3115 h 10000"/>
              <a:gd name="connsiteX60" fmla="*/ 1249 w 8622"/>
              <a:gd name="connsiteY60" fmla="*/ 3020 h 10000"/>
              <a:gd name="connsiteX61" fmla="*/ 1079 w 8622"/>
              <a:gd name="connsiteY61" fmla="*/ 2919 h 10000"/>
              <a:gd name="connsiteX62" fmla="*/ 921 w 8622"/>
              <a:gd name="connsiteY62" fmla="*/ 2811 h 10000"/>
              <a:gd name="connsiteX63" fmla="*/ 921 w 8622"/>
              <a:gd name="connsiteY63" fmla="*/ 2811 h 10000"/>
              <a:gd name="connsiteX64" fmla="*/ 798 w 8622"/>
              <a:gd name="connsiteY64" fmla="*/ 2716 h 10000"/>
              <a:gd name="connsiteX65" fmla="*/ 683 w 8622"/>
              <a:gd name="connsiteY65" fmla="*/ 2621 h 10000"/>
              <a:gd name="connsiteX66" fmla="*/ 573 w 8622"/>
              <a:gd name="connsiteY66" fmla="*/ 2520 h 10000"/>
              <a:gd name="connsiteX67" fmla="*/ 483 w 8622"/>
              <a:gd name="connsiteY67" fmla="*/ 2421 h 10000"/>
              <a:gd name="connsiteX68" fmla="*/ 390 w 8622"/>
              <a:gd name="connsiteY68" fmla="*/ 2317 h 10000"/>
              <a:gd name="connsiteX69" fmla="*/ 312 w 8622"/>
              <a:gd name="connsiteY69" fmla="*/ 2208 h 10000"/>
              <a:gd name="connsiteX70" fmla="*/ 243 w 8622"/>
              <a:gd name="connsiteY70" fmla="*/ 2098 h 10000"/>
              <a:gd name="connsiteX71" fmla="*/ 178 w 8622"/>
              <a:gd name="connsiteY71" fmla="*/ 1989 h 10000"/>
              <a:gd name="connsiteX72" fmla="*/ 129 w 8622"/>
              <a:gd name="connsiteY72" fmla="*/ 1876 h 10000"/>
              <a:gd name="connsiteX73" fmla="*/ 85 w 8622"/>
              <a:gd name="connsiteY73" fmla="*/ 1756 h 10000"/>
              <a:gd name="connsiteX74" fmla="*/ 48 w 8622"/>
              <a:gd name="connsiteY74" fmla="*/ 1633 h 10000"/>
              <a:gd name="connsiteX75" fmla="*/ 24 w 8622"/>
              <a:gd name="connsiteY75" fmla="*/ 1510 h 10000"/>
              <a:gd name="connsiteX76" fmla="*/ 7 w 8622"/>
              <a:gd name="connsiteY76" fmla="*/ 1386 h 10000"/>
              <a:gd name="connsiteX77" fmla="*/ 0 w 8622"/>
              <a:gd name="connsiteY77" fmla="*/ 1257 h 10000"/>
              <a:gd name="connsiteX78" fmla="*/ 0 w 8622"/>
              <a:gd name="connsiteY78" fmla="*/ 1125 h 10000"/>
              <a:gd name="connsiteX79" fmla="*/ 11 w 8622"/>
              <a:gd name="connsiteY79" fmla="*/ 992 h 10000"/>
              <a:gd name="connsiteX80" fmla="*/ 11 w 8622"/>
              <a:gd name="connsiteY80" fmla="*/ 992 h 10000"/>
              <a:gd name="connsiteX81" fmla="*/ 31 w 8622"/>
              <a:gd name="connsiteY81" fmla="*/ 870 h 10000"/>
              <a:gd name="connsiteX82" fmla="*/ 55 w 8622"/>
              <a:gd name="connsiteY82" fmla="*/ 746 h 10000"/>
              <a:gd name="connsiteX83" fmla="*/ 92 w 8622"/>
              <a:gd name="connsiteY83" fmla="*/ 622 h 10000"/>
              <a:gd name="connsiteX84" fmla="*/ 129 w 8622"/>
              <a:gd name="connsiteY84" fmla="*/ 503 h 10000"/>
              <a:gd name="connsiteX85" fmla="*/ 178 w 8622"/>
              <a:gd name="connsiteY85" fmla="*/ 385 h 10000"/>
              <a:gd name="connsiteX86" fmla="*/ 232 w 8622"/>
              <a:gd name="connsiteY86" fmla="*/ 265 h 10000"/>
              <a:gd name="connsiteX87" fmla="*/ 288 w 8622"/>
              <a:gd name="connsiteY87" fmla="*/ 152 h 10000"/>
              <a:gd name="connsiteX88" fmla="*/ 360 w 8622"/>
              <a:gd name="connsiteY88" fmla="*/ 38 h 10000"/>
              <a:gd name="connsiteX89" fmla="*/ 360 w 8622"/>
              <a:gd name="connsiteY89" fmla="*/ 38 h 10000"/>
              <a:gd name="connsiteX90" fmla="*/ 373 w 8622"/>
              <a:gd name="connsiteY90" fmla="*/ 0 h 10000"/>
              <a:gd name="connsiteX91" fmla="*/ 373 w 8622"/>
              <a:gd name="connsiteY91" fmla="*/ 0 h 10000"/>
              <a:gd name="connsiteX0" fmla="*/ 433 w 11598"/>
              <a:gd name="connsiteY0" fmla="*/ 0 h 10000"/>
              <a:gd name="connsiteX1" fmla="*/ 433 w 11598"/>
              <a:gd name="connsiteY1" fmla="*/ 0 h 10000"/>
              <a:gd name="connsiteX2" fmla="*/ 10017 w 11598"/>
              <a:gd name="connsiteY2" fmla="*/ 0 h 10000"/>
              <a:gd name="connsiteX3" fmla="*/ 9922 w 11598"/>
              <a:gd name="connsiteY3" fmla="*/ 8598 h 10000"/>
              <a:gd name="connsiteX4" fmla="*/ 9553 w 11598"/>
              <a:gd name="connsiteY4" fmla="*/ 8413 h 10000"/>
              <a:gd name="connsiteX5" fmla="*/ 9188 w 11598"/>
              <a:gd name="connsiteY5" fmla="*/ 8222 h 10000"/>
              <a:gd name="connsiteX6" fmla="*/ 8826 w 11598"/>
              <a:gd name="connsiteY6" fmla="*/ 8029 h 10000"/>
              <a:gd name="connsiteX7" fmla="*/ 8466 w 11598"/>
              <a:gd name="connsiteY7" fmla="*/ 7833 h 10000"/>
              <a:gd name="connsiteX8" fmla="*/ 8113 w 11598"/>
              <a:gd name="connsiteY8" fmla="*/ 7629 h 10000"/>
              <a:gd name="connsiteX9" fmla="*/ 8113 w 11598"/>
              <a:gd name="connsiteY9" fmla="*/ 7629 h 10000"/>
              <a:gd name="connsiteX10" fmla="*/ 7701 w 11598"/>
              <a:gd name="connsiteY10" fmla="*/ 7397 h 10000"/>
              <a:gd name="connsiteX11" fmla="*/ 7701 w 11598"/>
              <a:gd name="connsiteY11" fmla="*/ 7397 h 10000"/>
              <a:gd name="connsiteX12" fmla="*/ 7843 w 11598"/>
              <a:gd name="connsiteY12" fmla="*/ 7215 h 10000"/>
              <a:gd name="connsiteX13" fmla="*/ 7971 w 11598"/>
              <a:gd name="connsiteY13" fmla="*/ 7036 h 10000"/>
              <a:gd name="connsiteX14" fmla="*/ 7971 w 11598"/>
              <a:gd name="connsiteY14" fmla="*/ 7036 h 10000"/>
              <a:gd name="connsiteX15" fmla="*/ 8028 w 11598"/>
              <a:gd name="connsiteY15" fmla="*/ 6951 h 10000"/>
              <a:gd name="connsiteX16" fmla="*/ 8078 w 11598"/>
              <a:gd name="connsiteY16" fmla="*/ 6861 h 10000"/>
              <a:gd name="connsiteX17" fmla="*/ 8127 w 11598"/>
              <a:gd name="connsiteY17" fmla="*/ 6771 h 10000"/>
              <a:gd name="connsiteX18" fmla="*/ 8170 w 11598"/>
              <a:gd name="connsiteY18" fmla="*/ 6680 h 10000"/>
              <a:gd name="connsiteX19" fmla="*/ 8203 w 11598"/>
              <a:gd name="connsiteY19" fmla="*/ 6584 h 10000"/>
              <a:gd name="connsiteX20" fmla="*/ 8231 w 11598"/>
              <a:gd name="connsiteY20" fmla="*/ 6495 h 10000"/>
              <a:gd name="connsiteX21" fmla="*/ 8246 w 11598"/>
              <a:gd name="connsiteY21" fmla="*/ 6400 h 10000"/>
              <a:gd name="connsiteX22" fmla="*/ 8260 w 11598"/>
              <a:gd name="connsiteY22" fmla="*/ 6300 h 10000"/>
              <a:gd name="connsiteX23" fmla="*/ 8260 w 11598"/>
              <a:gd name="connsiteY23" fmla="*/ 6300 h 10000"/>
              <a:gd name="connsiteX24" fmla="*/ 8267 w 11598"/>
              <a:gd name="connsiteY24" fmla="*/ 6191 h 10000"/>
              <a:gd name="connsiteX25" fmla="*/ 8254 w 11598"/>
              <a:gd name="connsiteY25" fmla="*/ 6082 h 10000"/>
              <a:gd name="connsiteX26" fmla="*/ 8231 w 11598"/>
              <a:gd name="connsiteY26" fmla="*/ 5977 h 10000"/>
              <a:gd name="connsiteX27" fmla="*/ 8199 w 11598"/>
              <a:gd name="connsiteY27" fmla="*/ 5873 h 10000"/>
              <a:gd name="connsiteX28" fmla="*/ 8148 w 11598"/>
              <a:gd name="connsiteY28" fmla="*/ 5773 h 10000"/>
              <a:gd name="connsiteX29" fmla="*/ 8086 w 11598"/>
              <a:gd name="connsiteY29" fmla="*/ 5674 h 10000"/>
              <a:gd name="connsiteX30" fmla="*/ 8005 w 11598"/>
              <a:gd name="connsiteY30" fmla="*/ 5577 h 10000"/>
              <a:gd name="connsiteX31" fmla="*/ 7922 w 11598"/>
              <a:gd name="connsiteY31" fmla="*/ 5484 h 10000"/>
              <a:gd name="connsiteX32" fmla="*/ 7922 w 11598"/>
              <a:gd name="connsiteY32" fmla="*/ 5484 h 10000"/>
              <a:gd name="connsiteX33" fmla="*/ 7829 w 11598"/>
              <a:gd name="connsiteY33" fmla="*/ 5398 h 10000"/>
              <a:gd name="connsiteX34" fmla="*/ 7730 w 11598"/>
              <a:gd name="connsiteY34" fmla="*/ 5313 h 10000"/>
              <a:gd name="connsiteX35" fmla="*/ 7626 w 11598"/>
              <a:gd name="connsiteY35" fmla="*/ 5237 h 10000"/>
              <a:gd name="connsiteX36" fmla="*/ 7512 w 11598"/>
              <a:gd name="connsiteY36" fmla="*/ 5161 h 10000"/>
              <a:gd name="connsiteX37" fmla="*/ 7390 w 11598"/>
              <a:gd name="connsiteY37" fmla="*/ 5089 h 10000"/>
              <a:gd name="connsiteX38" fmla="*/ 7272 w 11598"/>
              <a:gd name="connsiteY38" fmla="*/ 5022 h 10000"/>
              <a:gd name="connsiteX39" fmla="*/ 7143 w 11598"/>
              <a:gd name="connsiteY39" fmla="*/ 4957 h 10000"/>
              <a:gd name="connsiteX40" fmla="*/ 7017 w 11598"/>
              <a:gd name="connsiteY40" fmla="*/ 4895 h 10000"/>
              <a:gd name="connsiteX41" fmla="*/ 7017 w 11598"/>
              <a:gd name="connsiteY41" fmla="*/ 4895 h 10000"/>
              <a:gd name="connsiteX42" fmla="*/ 6826 w 11598"/>
              <a:gd name="connsiteY42" fmla="*/ 4804 h 10000"/>
              <a:gd name="connsiteX43" fmla="*/ 6635 w 11598"/>
              <a:gd name="connsiteY43" fmla="*/ 4723 h 10000"/>
              <a:gd name="connsiteX44" fmla="*/ 6444 w 11598"/>
              <a:gd name="connsiteY44" fmla="*/ 4643 h 10000"/>
              <a:gd name="connsiteX45" fmla="*/ 6247 w 11598"/>
              <a:gd name="connsiteY45" fmla="*/ 4568 h 10000"/>
              <a:gd name="connsiteX46" fmla="*/ 6048 w 11598"/>
              <a:gd name="connsiteY46" fmla="*/ 4496 h 10000"/>
              <a:gd name="connsiteX47" fmla="*/ 5844 w 11598"/>
              <a:gd name="connsiteY47" fmla="*/ 4425 h 10000"/>
              <a:gd name="connsiteX48" fmla="*/ 5638 w 11598"/>
              <a:gd name="connsiteY48" fmla="*/ 4359 h 10000"/>
              <a:gd name="connsiteX49" fmla="*/ 5435 w 11598"/>
              <a:gd name="connsiteY49" fmla="*/ 4292 h 10000"/>
              <a:gd name="connsiteX50" fmla="*/ 5435 w 11598"/>
              <a:gd name="connsiteY50" fmla="*/ 4292 h 10000"/>
              <a:gd name="connsiteX51" fmla="*/ 4755 w 11598"/>
              <a:gd name="connsiteY51" fmla="*/ 4093 h 10000"/>
              <a:gd name="connsiteX52" fmla="*/ 4084 w 11598"/>
              <a:gd name="connsiteY52" fmla="*/ 3893 h 10000"/>
              <a:gd name="connsiteX53" fmla="*/ 2736 w 11598"/>
              <a:gd name="connsiteY53" fmla="*/ 3499 h 10000"/>
              <a:gd name="connsiteX54" fmla="*/ 2736 w 11598"/>
              <a:gd name="connsiteY54" fmla="*/ 3499 h 10000"/>
              <a:gd name="connsiteX55" fmla="*/ 2510 w 11598"/>
              <a:gd name="connsiteY55" fmla="*/ 3433 h 10000"/>
              <a:gd name="connsiteX56" fmla="*/ 2284 w 11598"/>
              <a:gd name="connsiteY56" fmla="*/ 3360 h 10000"/>
              <a:gd name="connsiteX57" fmla="*/ 2063 w 11598"/>
              <a:gd name="connsiteY57" fmla="*/ 3285 h 10000"/>
              <a:gd name="connsiteX58" fmla="*/ 1851 w 11598"/>
              <a:gd name="connsiteY58" fmla="*/ 3205 h 10000"/>
              <a:gd name="connsiteX59" fmla="*/ 1648 w 11598"/>
              <a:gd name="connsiteY59" fmla="*/ 3115 h 10000"/>
              <a:gd name="connsiteX60" fmla="*/ 1449 w 11598"/>
              <a:gd name="connsiteY60" fmla="*/ 3020 h 10000"/>
              <a:gd name="connsiteX61" fmla="*/ 1251 w 11598"/>
              <a:gd name="connsiteY61" fmla="*/ 2919 h 10000"/>
              <a:gd name="connsiteX62" fmla="*/ 1068 w 11598"/>
              <a:gd name="connsiteY62" fmla="*/ 2811 h 10000"/>
              <a:gd name="connsiteX63" fmla="*/ 1068 w 11598"/>
              <a:gd name="connsiteY63" fmla="*/ 2811 h 10000"/>
              <a:gd name="connsiteX64" fmla="*/ 926 w 11598"/>
              <a:gd name="connsiteY64" fmla="*/ 2716 h 10000"/>
              <a:gd name="connsiteX65" fmla="*/ 792 w 11598"/>
              <a:gd name="connsiteY65" fmla="*/ 2621 h 10000"/>
              <a:gd name="connsiteX66" fmla="*/ 665 w 11598"/>
              <a:gd name="connsiteY66" fmla="*/ 2520 h 10000"/>
              <a:gd name="connsiteX67" fmla="*/ 560 w 11598"/>
              <a:gd name="connsiteY67" fmla="*/ 2421 h 10000"/>
              <a:gd name="connsiteX68" fmla="*/ 452 w 11598"/>
              <a:gd name="connsiteY68" fmla="*/ 2317 h 10000"/>
              <a:gd name="connsiteX69" fmla="*/ 362 w 11598"/>
              <a:gd name="connsiteY69" fmla="*/ 2208 h 10000"/>
              <a:gd name="connsiteX70" fmla="*/ 282 w 11598"/>
              <a:gd name="connsiteY70" fmla="*/ 2098 h 10000"/>
              <a:gd name="connsiteX71" fmla="*/ 206 w 11598"/>
              <a:gd name="connsiteY71" fmla="*/ 1989 h 10000"/>
              <a:gd name="connsiteX72" fmla="*/ 150 w 11598"/>
              <a:gd name="connsiteY72" fmla="*/ 1876 h 10000"/>
              <a:gd name="connsiteX73" fmla="*/ 99 w 11598"/>
              <a:gd name="connsiteY73" fmla="*/ 1756 h 10000"/>
              <a:gd name="connsiteX74" fmla="*/ 56 w 11598"/>
              <a:gd name="connsiteY74" fmla="*/ 1633 h 10000"/>
              <a:gd name="connsiteX75" fmla="*/ 28 w 11598"/>
              <a:gd name="connsiteY75" fmla="*/ 1510 h 10000"/>
              <a:gd name="connsiteX76" fmla="*/ 8 w 11598"/>
              <a:gd name="connsiteY76" fmla="*/ 1386 h 10000"/>
              <a:gd name="connsiteX77" fmla="*/ 0 w 11598"/>
              <a:gd name="connsiteY77" fmla="*/ 1257 h 10000"/>
              <a:gd name="connsiteX78" fmla="*/ 0 w 11598"/>
              <a:gd name="connsiteY78" fmla="*/ 1125 h 10000"/>
              <a:gd name="connsiteX79" fmla="*/ 13 w 11598"/>
              <a:gd name="connsiteY79" fmla="*/ 992 h 10000"/>
              <a:gd name="connsiteX80" fmla="*/ 13 w 11598"/>
              <a:gd name="connsiteY80" fmla="*/ 992 h 10000"/>
              <a:gd name="connsiteX81" fmla="*/ 36 w 11598"/>
              <a:gd name="connsiteY81" fmla="*/ 870 h 10000"/>
              <a:gd name="connsiteX82" fmla="*/ 64 w 11598"/>
              <a:gd name="connsiteY82" fmla="*/ 746 h 10000"/>
              <a:gd name="connsiteX83" fmla="*/ 107 w 11598"/>
              <a:gd name="connsiteY83" fmla="*/ 622 h 10000"/>
              <a:gd name="connsiteX84" fmla="*/ 150 w 11598"/>
              <a:gd name="connsiteY84" fmla="*/ 503 h 10000"/>
              <a:gd name="connsiteX85" fmla="*/ 206 w 11598"/>
              <a:gd name="connsiteY85" fmla="*/ 385 h 10000"/>
              <a:gd name="connsiteX86" fmla="*/ 269 w 11598"/>
              <a:gd name="connsiteY86" fmla="*/ 265 h 10000"/>
              <a:gd name="connsiteX87" fmla="*/ 334 w 11598"/>
              <a:gd name="connsiteY87" fmla="*/ 152 h 10000"/>
              <a:gd name="connsiteX88" fmla="*/ 418 w 11598"/>
              <a:gd name="connsiteY88" fmla="*/ 38 h 10000"/>
              <a:gd name="connsiteX89" fmla="*/ 418 w 11598"/>
              <a:gd name="connsiteY89" fmla="*/ 38 h 10000"/>
              <a:gd name="connsiteX90" fmla="*/ 433 w 11598"/>
              <a:gd name="connsiteY90" fmla="*/ 0 h 10000"/>
              <a:gd name="connsiteX91" fmla="*/ 433 w 11598"/>
              <a:gd name="connsiteY91" fmla="*/ 0 h 10000"/>
              <a:gd name="connsiteX0" fmla="*/ 433 w 10017"/>
              <a:gd name="connsiteY0" fmla="*/ 0 h 10000"/>
              <a:gd name="connsiteX1" fmla="*/ 433 w 10017"/>
              <a:gd name="connsiteY1" fmla="*/ 0 h 10000"/>
              <a:gd name="connsiteX2" fmla="*/ 10017 w 10017"/>
              <a:gd name="connsiteY2" fmla="*/ 0 h 10000"/>
              <a:gd name="connsiteX3" fmla="*/ 9922 w 10017"/>
              <a:gd name="connsiteY3" fmla="*/ 8598 h 10000"/>
              <a:gd name="connsiteX4" fmla="*/ 9553 w 10017"/>
              <a:gd name="connsiteY4" fmla="*/ 8413 h 10000"/>
              <a:gd name="connsiteX5" fmla="*/ 9188 w 10017"/>
              <a:gd name="connsiteY5" fmla="*/ 8222 h 10000"/>
              <a:gd name="connsiteX6" fmla="*/ 8826 w 10017"/>
              <a:gd name="connsiteY6" fmla="*/ 8029 h 10000"/>
              <a:gd name="connsiteX7" fmla="*/ 8466 w 10017"/>
              <a:gd name="connsiteY7" fmla="*/ 7833 h 10000"/>
              <a:gd name="connsiteX8" fmla="*/ 8113 w 10017"/>
              <a:gd name="connsiteY8" fmla="*/ 7629 h 10000"/>
              <a:gd name="connsiteX9" fmla="*/ 8113 w 10017"/>
              <a:gd name="connsiteY9" fmla="*/ 7629 h 10000"/>
              <a:gd name="connsiteX10" fmla="*/ 7701 w 10017"/>
              <a:gd name="connsiteY10" fmla="*/ 7397 h 10000"/>
              <a:gd name="connsiteX11" fmla="*/ 7701 w 10017"/>
              <a:gd name="connsiteY11" fmla="*/ 7397 h 10000"/>
              <a:gd name="connsiteX12" fmla="*/ 7843 w 10017"/>
              <a:gd name="connsiteY12" fmla="*/ 7215 h 10000"/>
              <a:gd name="connsiteX13" fmla="*/ 7971 w 10017"/>
              <a:gd name="connsiteY13" fmla="*/ 7036 h 10000"/>
              <a:gd name="connsiteX14" fmla="*/ 7971 w 10017"/>
              <a:gd name="connsiteY14" fmla="*/ 7036 h 10000"/>
              <a:gd name="connsiteX15" fmla="*/ 8028 w 10017"/>
              <a:gd name="connsiteY15" fmla="*/ 6951 h 10000"/>
              <a:gd name="connsiteX16" fmla="*/ 8078 w 10017"/>
              <a:gd name="connsiteY16" fmla="*/ 6861 h 10000"/>
              <a:gd name="connsiteX17" fmla="*/ 8127 w 10017"/>
              <a:gd name="connsiteY17" fmla="*/ 6771 h 10000"/>
              <a:gd name="connsiteX18" fmla="*/ 8170 w 10017"/>
              <a:gd name="connsiteY18" fmla="*/ 6680 h 10000"/>
              <a:gd name="connsiteX19" fmla="*/ 8203 w 10017"/>
              <a:gd name="connsiteY19" fmla="*/ 6584 h 10000"/>
              <a:gd name="connsiteX20" fmla="*/ 8231 w 10017"/>
              <a:gd name="connsiteY20" fmla="*/ 6495 h 10000"/>
              <a:gd name="connsiteX21" fmla="*/ 8246 w 10017"/>
              <a:gd name="connsiteY21" fmla="*/ 6400 h 10000"/>
              <a:gd name="connsiteX22" fmla="*/ 8260 w 10017"/>
              <a:gd name="connsiteY22" fmla="*/ 6300 h 10000"/>
              <a:gd name="connsiteX23" fmla="*/ 8260 w 10017"/>
              <a:gd name="connsiteY23" fmla="*/ 6300 h 10000"/>
              <a:gd name="connsiteX24" fmla="*/ 8267 w 10017"/>
              <a:gd name="connsiteY24" fmla="*/ 6191 h 10000"/>
              <a:gd name="connsiteX25" fmla="*/ 8254 w 10017"/>
              <a:gd name="connsiteY25" fmla="*/ 6082 h 10000"/>
              <a:gd name="connsiteX26" fmla="*/ 8231 w 10017"/>
              <a:gd name="connsiteY26" fmla="*/ 5977 h 10000"/>
              <a:gd name="connsiteX27" fmla="*/ 8199 w 10017"/>
              <a:gd name="connsiteY27" fmla="*/ 5873 h 10000"/>
              <a:gd name="connsiteX28" fmla="*/ 8148 w 10017"/>
              <a:gd name="connsiteY28" fmla="*/ 5773 h 10000"/>
              <a:gd name="connsiteX29" fmla="*/ 8086 w 10017"/>
              <a:gd name="connsiteY29" fmla="*/ 5674 h 10000"/>
              <a:gd name="connsiteX30" fmla="*/ 8005 w 10017"/>
              <a:gd name="connsiteY30" fmla="*/ 5577 h 10000"/>
              <a:gd name="connsiteX31" fmla="*/ 7922 w 10017"/>
              <a:gd name="connsiteY31" fmla="*/ 5484 h 10000"/>
              <a:gd name="connsiteX32" fmla="*/ 7922 w 10017"/>
              <a:gd name="connsiteY32" fmla="*/ 5484 h 10000"/>
              <a:gd name="connsiteX33" fmla="*/ 7829 w 10017"/>
              <a:gd name="connsiteY33" fmla="*/ 5398 h 10000"/>
              <a:gd name="connsiteX34" fmla="*/ 7730 w 10017"/>
              <a:gd name="connsiteY34" fmla="*/ 5313 h 10000"/>
              <a:gd name="connsiteX35" fmla="*/ 7626 w 10017"/>
              <a:gd name="connsiteY35" fmla="*/ 5237 h 10000"/>
              <a:gd name="connsiteX36" fmla="*/ 7512 w 10017"/>
              <a:gd name="connsiteY36" fmla="*/ 5161 h 10000"/>
              <a:gd name="connsiteX37" fmla="*/ 7390 w 10017"/>
              <a:gd name="connsiteY37" fmla="*/ 5089 h 10000"/>
              <a:gd name="connsiteX38" fmla="*/ 7272 w 10017"/>
              <a:gd name="connsiteY38" fmla="*/ 5022 h 10000"/>
              <a:gd name="connsiteX39" fmla="*/ 7143 w 10017"/>
              <a:gd name="connsiteY39" fmla="*/ 4957 h 10000"/>
              <a:gd name="connsiteX40" fmla="*/ 7017 w 10017"/>
              <a:gd name="connsiteY40" fmla="*/ 4895 h 10000"/>
              <a:gd name="connsiteX41" fmla="*/ 7017 w 10017"/>
              <a:gd name="connsiteY41" fmla="*/ 4895 h 10000"/>
              <a:gd name="connsiteX42" fmla="*/ 6826 w 10017"/>
              <a:gd name="connsiteY42" fmla="*/ 4804 h 10000"/>
              <a:gd name="connsiteX43" fmla="*/ 6635 w 10017"/>
              <a:gd name="connsiteY43" fmla="*/ 4723 h 10000"/>
              <a:gd name="connsiteX44" fmla="*/ 6444 w 10017"/>
              <a:gd name="connsiteY44" fmla="*/ 4643 h 10000"/>
              <a:gd name="connsiteX45" fmla="*/ 6247 w 10017"/>
              <a:gd name="connsiteY45" fmla="*/ 4568 h 10000"/>
              <a:gd name="connsiteX46" fmla="*/ 6048 w 10017"/>
              <a:gd name="connsiteY46" fmla="*/ 4496 h 10000"/>
              <a:gd name="connsiteX47" fmla="*/ 5844 w 10017"/>
              <a:gd name="connsiteY47" fmla="*/ 4425 h 10000"/>
              <a:gd name="connsiteX48" fmla="*/ 5638 w 10017"/>
              <a:gd name="connsiteY48" fmla="*/ 4359 h 10000"/>
              <a:gd name="connsiteX49" fmla="*/ 5435 w 10017"/>
              <a:gd name="connsiteY49" fmla="*/ 4292 h 10000"/>
              <a:gd name="connsiteX50" fmla="*/ 5435 w 10017"/>
              <a:gd name="connsiteY50" fmla="*/ 4292 h 10000"/>
              <a:gd name="connsiteX51" fmla="*/ 4755 w 10017"/>
              <a:gd name="connsiteY51" fmla="*/ 4093 h 10000"/>
              <a:gd name="connsiteX52" fmla="*/ 4084 w 10017"/>
              <a:gd name="connsiteY52" fmla="*/ 3893 h 10000"/>
              <a:gd name="connsiteX53" fmla="*/ 2736 w 10017"/>
              <a:gd name="connsiteY53" fmla="*/ 3499 h 10000"/>
              <a:gd name="connsiteX54" fmla="*/ 2736 w 10017"/>
              <a:gd name="connsiteY54" fmla="*/ 3499 h 10000"/>
              <a:gd name="connsiteX55" fmla="*/ 2510 w 10017"/>
              <a:gd name="connsiteY55" fmla="*/ 3433 h 10000"/>
              <a:gd name="connsiteX56" fmla="*/ 2284 w 10017"/>
              <a:gd name="connsiteY56" fmla="*/ 3360 h 10000"/>
              <a:gd name="connsiteX57" fmla="*/ 2063 w 10017"/>
              <a:gd name="connsiteY57" fmla="*/ 3285 h 10000"/>
              <a:gd name="connsiteX58" fmla="*/ 1851 w 10017"/>
              <a:gd name="connsiteY58" fmla="*/ 3205 h 10000"/>
              <a:gd name="connsiteX59" fmla="*/ 1648 w 10017"/>
              <a:gd name="connsiteY59" fmla="*/ 3115 h 10000"/>
              <a:gd name="connsiteX60" fmla="*/ 1449 w 10017"/>
              <a:gd name="connsiteY60" fmla="*/ 3020 h 10000"/>
              <a:gd name="connsiteX61" fmla="*/ 1251 w 10017"/>
              <a:gd name="connsiteY61" fmla="*/ 2919 h 10000"/>
              <a:gd name="connsiteX62" fmla="*/ 1068 w 10017"/>
              <a:gd name="connsiteY62" fmla="*/ 2811 h 10000"/>
              <a:gd name="connsiteX63" fmla="*/ 1068 w 10017"/>
              <a:gd name="connsiteY63" fmla="*/ 2811 h 10000"/>
              <a:gd name="connsiteX64" fmla="*/ 926 w 10017"/>
              <a:gd name="connsiteY64" fmla="*/ 2716 h 10000"/>
              <a:gd name="connsiteX65" fmla="*/ 792 w 10017"/>
              <a:gd name="connsiteY65" fmla="*/ 2621 h 10000"/>
              <a:gd name="connsiteX66" fmla="*/ 665 w 10017"/>
              <a:gd name="connsiteY66" fmla="*/ 2520 h 10000"/>
              <a:gd name="connsiteX67" fmla="*/ 560 w 10017"/>
              <a:gd name="connsiteY67" fmla="*/ 2421 h 10000"/>
              <a:gd name="connsiteX68" fmla="*/ 452 w 10017"/>
              <a:gd name="connsiteY68" fmla="*/ 2317 h 10000"/>
              <a:gd name="connsiteX69" fmla="*/ 362 w 10017"/>
              <a:gd name="connsiteY69" fmla="*/ 2208 h 10000"/>
              <a:gd name="connsiteX70" fmla="*/ 282 w 10017"/>
              <a:gd name="connsiteY70" fmla="*/ 2098 h 10000"/>
              <a:gd name="connsiteX71" fmla="*/ 206 w 10017"/>
              <a:gd name="connsiteY71" fmla="*/ 1989 h 10000"/>
              <a:gd name="connsiteX72" fmla="*/ 150 w 10017"/>
              <a:gd name="connsiteY72" fmla="*/ 1876 h 10000"/>
              <a:gd name="connsiteX73" fmla="*/ 99 w 10017"/>
              <a:gd name="connsiteY73" fmla="*/ 1756 h 10000"/>
              <a:gd name="connsiteX74" fmla="*/ 56 w 10017"/>
              <a:gd name="connsiteY74" fmla="*/ 1633 h 10000"/>
              <a:gd name="connsiteX75" fmla="*/ 28 w 10017"/>
              <a:gd name="connsiteY75" fmla="*/ 1510 h 10000"/>
              <a:gd name="connsiteX76" fmla="*/ 8 w 10017"/>
              <a:gd name="connsiteY76" fmla="*/ 1386 h 10000"/>
              <a:gd name="connsiteX77" fmla="*/ 0 w 10017"/>
              <a:gd name="connsiteY77" fmla="*/ 1257 h 10000"/>
              <a:gd name="connsiteX78" fmla="*/ 0 w 10017"/>
              <a:gd name="connsiteY78" fmla="*/ 1125 h 10000"/>
              <a:gd name="connsiteX79" fmla="*/ 13 w 10017"/>
              <a:gd name="connsiteY79" fmla="*/ 992 h 10000"/>
              <a:gd name="connsiteX80" fmla="*/ 13 w 10017"/>
              <a:gd name="connsiteY80" fmla="*/ 992 h 10000"/>
              <a:gd name="connsiteX81" fmla="*/ 36 w 10017"/>
              <a:gd name="connsiteY81" fmla="*/ 870 h 10000"/>
              <a:gd name="connsiteX82" fmla="*/ 64 w 10017"/>
              <a:gd name="connsiteY82" fmla="*/ 746 h 10000"/>
              <a:gd name="connsiteX83" fmla="*/ 107 w 10017"/>
              <a:gd name="connsiteY83" fmla="*/ 622 h 10000"/>
              <a:gd name="connsiteX84" fmla="*/ 150 w 10017"/>
              <a:gd name="connsiteY84" fmla="*/ 503 h 10000"/>
              <a:gd name="connsiteX85" fmla="*/ 206 w 10017"/>
              <a:gd name="connsiteY85" fmla="*/ 385 h 10000"/>
              <a:gd name="connsiteX86" fmla="*/ 269 w 10017"/>
              <a:gd name="connsiteY86" fmla="*/ 265 h 10000"/>
              <a:gd name="connsiteX87" fmla="*/ 334 w 10017"/>
              <a:gd name="connsiteY87" fmla="*/ 152 h 10000"/>
              <a:gd name="connsiteX88" fmla="*/ 418 w 10017"/>
              <a:gd name="connsiteY88" fmla="*/ 38 h 10000"/>
              <a:gd name="connsiteX89" fmla="*/ 418 w 10017"/>
              <a:gd name="connsiteY89" fmla="*/ 38 h 10000"/>
              <a:gd name="connsiteX90" fmla="*/ 433 w 10017"/>
              <a:gd name="connsiteY90" fmla="*/ 0 h 10000"/>
              <a:gd name="connsiteX91" fmla="*/ 433 w 10017"/>
              <a:gd name="connsiteY91" fmla="*/ 0 h 10000"/>
              <a:gd name="connsiteX0" fmla="*/ 433 w 10017"/>
              <a:gd name="connsiteY0" fmla="*/ 0 h 8598"/>
              <a:gd name="connsiteX1" fmla="*/ 433 w 10017"/>
              <a:gd name="connsiteY1" fmla="*/ 0 h 8598"/>
              <a:gd name="connsiteX2" fmla="*/ 10017 w 10017"/>
              <a:gd name="connsiteY2" fmla="*/ 0 h 8598"/>
              <a:gd name="connsiteX3" fmla="*/ 9922 w 10017"/>
              <a:gd name="connsiteY3" fmla="*/ 8598 h 8598"/>
              <a:gd name="connsiteX4" fmla="*/ 9553 w 10017"/>
              <a:gd name="connsiteY4" fmla="*/ 8413 h 8598"/>
              <a:gd name="connsiteX5" fmla="*/ 9188 w 10017"/>
              <a:gd name="connsiteY5" fmla="*/ 8222 h 8598"/>
              <a:gd name="connsiteX6" fmla="*/ 8826 w 10017"/>
              <a:gd name="connsiteY6" fmla="*/ 8029 h 8598"/>
              <a:gd name="connsiteX7" fmla="*/ 8466 w 10017"/>
              <a:gd name="connsiteY7" fmla="*/ 7833 h 8598"/>
              <a:gd name="connsiteX8" fmla="*/ 8113 w 10017"/>
              <a:gd name="connsiteY8" fmla="*/ 7629 h 8598"/>
              <a:gd name="connsiteX9" fmla="*/ 8113 w 10017"/>
              <a:gd name="connsiteY9" fmla="*/ 7629 h 8598"/>
              <a:gd name="connsiteX10" fmla="*/ 7701 w 10017"/>
              <a:gd name="connsiteY10" fmla="*/ 7397 h 8598"/>
              <a:gd name="connsiteX11" fmla="*/ 7701 w 10017"/>
              <a:gd name="connsiteY11" fmla="*/ 7397 h 8598"/>
              <a:gd name="connsiteX12" fmla="*/ 7843 w 10017"/>
              <a:gd name="connsiteY12" fmla="*/ 7215 h 8598"/>
              <a:gd name="connsiteX13" fmla="*/ 7971 w 10017"/>
              <a:gd name="connsiteY13" fmla="*/ 7036 h 8598"/>
              <a:gd name="connsiteX14" fmla="*/ 7971 w 10017"/>
              <a:gd name="connsiteY14" fmla="*/ 7036 h 8598"/>
              <a:gd name="connsiteX15" fmla="*/ 8028 w 10017"/>
              <a:gd name="connsiteY15" fmla="*/ 6951 h 8598"/>
              <a:gd name="connsiteX16" fmla="*/ 8078 w 10017"/>
              <a:gd name="connsiteY16" fmla="*/ 6861 h 8598"/>
              <a:gd name="connsiteX17" fmla="*/ 8127 w 10017"/>
              <a:gd name="connsiteY17" fmla="*/ 6771 h 8598"/>
              <a:gd name="connsiteX18" fmla="*/ 8170 w 10017"/>
              <a:gd name="connsiteY18" fmla="*/ 6680 h 8598"/>
              <a:gd name="connsiteX19" fmla="*/ 8203 w 10017"/>
              <a:gd name="connsiteY19" fmla="*/ 6584 h 8598"/>
              <a:gd name="connsiteX20" fmla="*/ 8231 w 10017"/>
              <a:gd name="connsiteY20" fmla="*/ 6495 h 8598"/>
              <a:gd name="connsiteX21" fmla="*/ 8246 w 10017"/>
              <a:gd name="connsiteY21" fmla="*/ 6400 h 8598"/>
              <a:gd name="connsiteX22" fmla="*/ 8260 w 10017"/>
              <a:gd name="connsiteY22" fmla="*/ 6300 h 8598"/>
              <a:gd name="connsiteX23" fmla="*/ 8260 w 10017"/>
              <a:gd name="connsiteY23" fmla="*/ 6300 h 8598"/>
              <a:gd name="connsiteX24" fmla="*/ 8267 w 10017"/>
              <a:gd name="connsiteY24" fmla="*/ 6191 h 8598"/>
              <a:gd name="connsiteX25" fmla="*/ 8254 w 10017"/>
              <a:gd name="connsiteY25" fmla="*/ 6082 h 8598"/>
              <a:gd name="connsiteX26" fmla="*/ 8231 w 10017"/>
              <a:gd name="connsiteY26" fmla="*/ 5977 h 8598"/>
              <a:gd name="connsiteX27" fmla="*/ 8199 w 10017"/>
              <a:gd name="connsiteY27" fmla="*/ 5873 h 8598"/>
              <a:gd name="connsiteX28" fmla="*/ 8148 w 10017"/>
              <a:gd name="connsiteY28" fmla="*/ 5773 h 8598"/>
              <a:gd name="connsiteX29" fmla="*/ 8086 w 10017"/>
              <a:gd name="connsiteY29" fmla="*/ 5674 h 8598"/>
              <a:gd name="connsiteX30" fmla="*/ 8005 w 10017"/>
              <a:gd name="connsiteY30" fmla="*/ 5577 h 8598"/>
              <a:gd name="connsiteX31" fmla="*/ 7922 w 10017"/>
              <a:gd name="connsiteY31" fmla="*/ 5484 h 8598"/>
              <a:gd name="connsiteX32" fmla="*/ 7922 w 10017"/>
              <a:gd name="connsiteY32" fmla="*/ 5484 h 8598"/>
              <a:gd name="connsiteX33" fmla="*/ 7829 w 10017"/>
              <a:gd name="connsiteY33" fmla="*/ 5398 h 8598"/>
              <a:gd name="connsiteX34" fmla="*/ 7730 w 10017"/>
              <a:gd name="connsiteY34" fmla="*/ 5313 h 8598"/>
              <a:gd name="connsiteX35" fmla="*/ 7626 w 10017"/>
              <a:gd name="connsiteY35" fmla="*/ 5237 h 8598"/>
              <a:gd name="connsiteX36" fmla="*/ 7512 w 10017"/>
              <a:gd name="connsiteY36" fmla="*/ 5161 h 8598"/>
              <a:gd name="connsiteX37" fmla="*/ 7390 w 10017"/>
              <a:gd name="connsiteY37" fmla="*/ 5089 h 8598"/>
              <a:gd name="connsiteX38" fmla="*/ 7272 w 10017"/>
              <a:gd name="connsiteY38" fmla="*/ 5022 h 8598"/>
              <a:gd name="connsiteX39" fmla="*/ 7143 w 10017"/>
              <a:gd name="connsiteY39" fmla="*/ 4957 h 8598"/>
              <a:gd name="connsiteX40" fmla="*/ 7017 w 10017"/>
              <a:gd name="connsiteY40" fmla="*/ 4895 h 8598"/>
              <a:gd name="connsiteX41" fmla="*/ 7017 w 10017"/>
              <a:gd name="connsiteY41" fmla="*/ 4895 h 8598"/>
              <a:gd name="connsiteX42" fmla="*/ 6826 w 10017"/>
              <a:gd name="connsiteY42" fmla="*/ 4804 h 8598"/>
              <a:gd name="connsiteX43" fmla="*/ 6635 w 10017"/>
              <a:gd name="connsiteY43" fmla="*/ 4723 h 8598"/>
              <a:gd name="connsiteX44" fmla="*/ 6444 w 10017"/>
              <a:gd name="connsiteY44" fmla="*/ 4643 h 8598"/>
              <a:gd name="connsiteX45" fmla="*/ 6247 w 10017"/>
              <a:gd name="connsiteY45" fmla="*/ 4568 h 8598"/>
              <a:gd name="connsiteX46" fmla="*/ 6048 w 10017"/>
              <a:gd name="connsiteY46" fmla="*/ 4496 h 8598"/>
              <a:gd name="connsiteX47" fmla="*/ 5844 w 10017"/>
              <a:gd name="connsiteY47" fmla="*/ 4425 h 8598"/>
              <a:gd name="connsiteX48" fmla="*/ 5638 w 10017"/>
              <a:gd name="connsiteY48" fmla="*/ 4359 h 8598"/>
              <a:gd name="connsiteX49" fmla="*/ 5435 w 10017"/>
              <a:gd name="connsiteY49" fmla="*/ 4292 h 8598"/>
              <a:gd name="connsiteX50" fmla="*/ 5435 w 10017"/>
              <a:gd name="connsiteY50" fmla="*/ 4292 h 8598"/>
              <a:gd name="connsiteX51" fmla="*/ 4755 w 10017"/>
              <a:gd name="connsiteY51" fmla="*/ 4093 h 8598"/>
              <a:gd name="connsiteX52" fmla="*/ 4084 w 10017"/>
              <a:gd name="connsiteY52" fmla="*/ 3893 h 8598"/>
              <a:gd name="connsiteX53" fmla="*/ 2736 w 10017"/>
              <a:gd name="connsiteY53" fmla="*/ 3499 h 8598"/>
              <a:gd name="connsiteX54" fmla="*/ 2736 w 10017"/>
              <a:gd name="connsiteY54" fmla="*/ 3499 h 8598"/>
              <a:gd name="connsiteX55" fmla="*/ 2510 w 10017"/>
              <a:gd name="connsiteY55" fmla="*/ 3433 h 8598"/>
              <a:gd name="connsiteX56" fmla="*/ 2284 w 10017"/>
              <a:gd name="connsiteY56" fmla="*/ 3360 h 8598"/>
              <a:gd name="connsiteX57" fmla="*/ 2063 w 10017"/>
              <a:gd name="connsiteY57" fmla="*/ 3285 h 8598"/>
              <a:gd name="connsiteX58" fmla="*/ 1851 w 10017"/>
              <a:gd name="connsiteY58" fmla="*/ 3205 h 8598"/>
              <a:gd name="connsiteX59" fmla="*/ 1648 w 10017"/>
              <a:gd name="connsiteY59" fmla="*/ 3115 h 8598"/>
              <a:gd name="connsiteX60" fmla="*/ 1449 w 10017"/>
              <a:gd name="connsiteY60" fmla="*/ 3020 h 8598"/>
              <a:gd name="connsiteX61" fmla="*/ 1251 w 10017"/>
              <a:gd name="connsiteY61" fmla="*/ 2919 h 8598"/>
              <a:gd name="connsiteX62" fmla="*/ 1068 w 10017"/>
              <a:gd name="connsiteY62" fmla="*/ 2811 h 8598"/>
              <a:gd name="connsiteX63" fmla="*/ 1068 w 10017"/>
              <a:gd name="connsiteY63" fmla="*/ 2811 h 8598"/>
              <a:gd name="connsiteX64" fmla="*/ 926 w 10017"/>
              <a:gd name="connsiteY64" fmla="*/ 2716 h 8598"/>
              <a:gd name="connsiteX65" fmla="*/ 792 w 10017"/>
              <a:gd name="connsiteY65" fmla="*/ 2621 h 8598"/>
              <a:gd name="connsiteX66" fmla="*/ 665 w 10017"/>
              <a:gd name="connsiteY66" fmla="*/ 2520 h 8598"/>
              <a:gd name="connsiteX67" fmla="*/ 560 w 10017"/>
              <a:gd name="connsiteY67" fmla="*/ 2421 h 8598"/>
              <a:gd name="connsiteX68" fmla="*/ 452 w 10017"/>
              <a:gd name="connsiteY68" fmla="*/ 2317 h 8598"/>
              <a:gd name="connsiteX69" fmla="*/ 362 w 10017"/>
              <a:gd name="connsiteY69" fmla="*/ 2208 h 8598"/>
              <a:gd name="connsiteX70" fmla="*/ 282 w 10017"/>
              <a:gd name="connsiteY70" fmla="*/ 2098 h 8598"/>
              <a:gd name="connsiteX71" fmla="*/ 206 w 10017"/>
              <a:gd name="connsiteY71" fmla="*/ 1989 h 8598"/>
              <a:gd name="connsiteX72" fmla="*/ 150 w 10017"/>
              <a:gd name="connsiteY72" fmla="*/ 1876 h 8598"/>
              <a:gd name="connsiteX73" fmla="*/ 99 w 10017"/>
              <a:gd name="connsiteY73" fmla="*/ 1756 h 8598"/>
              <a:gd name="connsiteX74" fmla="*/ 56 w 10017"/>
              <a:gd name="connsiteY74" fmla="*/ 1633 h 8598"/>
              <a:gd name="connsiteX75" fmla="*/ 28 w 10017"/>
              <a:gd name="connsiteY75" fmla="*/ 1510 h 8598"/>
              <a:gd name="connsiteX76" fmla="*/ 8 w 10017"/>
              <a:gd name="connsiteY76" fmla="*/ 1386 h 8598"/>
              <a:gd name="connsiteX77" fmla="*/ 0 w 10017"/>
              <a:gd name="connsiteY77" fmla="*/ 1257 h 8598"/>
              <a:gd name="connsiteX78" fmla="*/ 0 w 10017"/>
              <a:gd name="connsiteY78" fmla="*/ 1125 h 8598"/>
              <a:gd name="connsiteX79" fmla="*/ 13 w 10017"/>
              <a:gd name="connsiteY79" fmla="*/ 992 h 8598"/>
              <a:gd name="connsiteX80" fmla="*/ 13 w 10017"/>
              <a:gd name="connsiteY80" fmla="*/ 992 h 8598"/>
              <a:gd name="connsiteX81" fmla="*/ 36 w 10017"/>
              <a:gd name="connsiteY81" fmla="*/ 870 h 8598"/>
              <a:gd name="connsiteX82" fmla="*/ 64 w 10017"/>
              <a:gd name="connsiteY82" fmla="*/ 746 h 8598"/>
              <a:gd name="connsiteX83" fmla="*/ 107 w 10017"/>
              <a:gd name="connsiteY83" fmla="*/ 622 h 8598"/>
              <a:gd name="connsiteX84" fmla="*/ 150 w 10017"/>
              <a:gd name="connsiteY84" fmla="*/ 503 h 8598"/>
              <a:gd name="connsiteX85" fmla="*/ 206 w 10017"/>
              <a:gd name="connsiteY85" fmla="*/ 385 h 8598"/>
              <a:gd name="connsiteX86" fmla="*/ 269 w 10017"/>
              <a:gd name="connsiteY86" fmla="*/ 265 h 8598"/>
              <a:gd name="connsiteX87" fmla="*/ 334 w 10017"/>
              <a:gd name="connsiteY87" fmla="*/ 152 h 8598"/>
              <a:gd name="connsiteX88" fmla="*/ 418 w 10017"/>
              <a:gd name="connsiteY88" fmla="*/ 38 h 8598"/>
              <a:gd name="connsiteX89" fmla="*/ 418 w 10017"/>
              <a:gd name="connsiteY89" fmla="*/ 38 h 8598"/>
              <a:gd name="connsiteX90" fmla="*/ 433 w 10017"/>
              <a:gd name="connsiteY90" fmla="*/ 0 h 8598"/>
              <a:gd name="connsiteX91" fmla="*/ 433 w 10017"/>
              <a:gd name="connsiteY91" fmla="*/ 0 h 8598"/>
              <a:gd name="connsiteX0" fmla="*/ 432 w 10078"/>
              <a:gd name="connsiteY0" fmla="*/ 0 h 10096"/>
              <a:gd name="connsiteX1" fmla="*/ 432 w 10078"/>
              <a:gd name="connsiteY1" fmla="*/ 0 h 10096"/>
              <a:gd name="connsiteX2" fmla="*/ 10000 w 10078"/>
              <a:gd name="connsiteY2" fmla="*/ 0 h 10096"/>
              <a:gd name="connsiteX3" fmla="*/ 10000 w 10078"/>
              <a:gd name="connsiteY3" fmla="*/ 10096 h 10096"/>
              <a:gd name="connsiteX4" fmla="*/ 9537 w 10078"/>
              <a:gd name="connsiteY4" fmla="*/ 9785 h 10096"/>
              <a:gd name="connsiteX5" fmla="*/ 9172 w 10078"/>
              <a:gd name="connsiteY5" fmla="*/ 9563 h 10096"/>
              <a:gd name="connsiteX6" fmla="*/ 8811 w 10078"/>
              <a:gd name="connsiteY6" fmla="*/ 9338 h 10096"/>
              <a:gd name="connsiteX7" fmla="*/ 8452 w 10078"/>
              <a:gd name="connsiteY7" fmla="*/ 9110 h 10096"/>
              <a:gd name="connsiteX8" fmla="*/ 8099 w 10078"/>
              <a:gd name="connsiteY8" fmla="*/ 8873 h 10096"/>
              <a:gd name="connsiteX9" fmla="*/ 8099 w 10078"/>
              <a:gd name="connsiteY9" fmla="*/ 8873 h 10096"/>
              <a:gd name="connsiteX10" fmla="*/ 7688 w 10078"/>
              <a:gd name="connsiteY10" fmla="*/ 8603 h 10096"/>
              <a:gd name="connsiteX11" fmla="*/ 7688 w 10078"/>
              <a:gd name="connsiteY11" fmla="*/ 8603 h 10096"/>
              <a:gd name="connsiteX12" fmla="*/ 7830 w 10078"/>
              <a:gd name="connsiteY12" fmla="*/ 8391 h 10096"/>
              <a:gd name="connsiteX13" fmla="*/ 7957 w 10078"/>
              <a:gd name="connsiteY13" fmla="*/ 8183 h 10096"/>
              <a:gd name="connsiteX14" fmla="*/ 7957 w 10078"/>
              <a:gd name="connsiteY14" fmla="*/ 8183 h 10096"/>
              <a:gd name="connsiteX15" fmla="*/ 8014 w 10078"/>
              <a:gd name="connsiteY15" fmla="*/ 8084 h 10096"/>
              <a:gd name="connsiteX16" fmla="*/ 8064 w 10078"/>
              <a:gd name="connsiteY16" fmla="*/ 7980 h 10096"/>
              <a:gd name="connsiteX17" fmla="*/ 8113 w 10078"/>
              <a:gd name="connsiteY17" fmla="*/ 7875 h 10096"/>
              <a:gd name="connsiteX18" fmla="*/ 8156 w 10078"/>
              <a:gd name="connsiteY18" fmla="*/ 7769 h 10096"/>
              <a:gd name="connsiteX19" fmla="*/ 8189 w 10078"/>
              <a:gd name="connsiteY19" fmla="*/ 7658 h 10096"/>
              <a:gd name="connsiteX20" fmla="*/ 8217 w 10078"/>
              <a:gd name="connsiteY20" fmla="*/ 7554 h 10096"/>
              <a:gd name="connsiteX21" fmla="*/ 8232 w 10078"/>
              <a:gd name="connsiteY21" fmla="*/ 7444 h 10096"/>
              <a:gd name="connsiteX22" fmla="*/ 8246 w 10078"/>
              <a:gd name="connsiteY22" fmla="*/ 7327 h 10096"/>
              <a:gd name="connsiteX23" fmla="*/ 8246 w 10078"/>
              <a:gd name="connsiteY23" fmla="*/ 7327 h 10096"/>
              <a:gd name="connsiteX24" fmla="*/ 8253 w 10078"/>
              <a:gd name="connsiteY24" fmla="*/ 7201 h 10096"/>
              <a:gd name="connsiteX25" fmla="*/ 8240 w 10078"/>
              <a:gd name="connsiteY25" fmla="*/ 7074 h 10096"/>
              <a:gd name="connsiteX26" fmla="*/ 8217 w 10078"/>
              <a:gd name="connsiteY26" fmla="*/ 6952 h 10096"/>
              <a:gd name="connsiteX27" fmla="*/ 8185 w 10078"/>
              <a:gd name="connsiteY27" fmla="*/ 6831 h 10096"/>
              <a:gd name="connsiteX28" fmla="*/ 8134 w 10078"/>
              <a:gd name="connsiteY28" fmla="*/ 6714 h 10096"/>
              <a:gd name="connsiteX29" fmla="*/ 8072 w 10078"/>
              <a:gd name="connsiteY29" fmla="*/ 6599 h 10096"/>
              <a:gd name="connsiteX30" fmla="*/ 7991 w 10078"/>
              <a:gd name="connsiteY30" fmla="*/ 6486 h 10096"/>
              <a:gd name="connsiteX31" fmla="*/ 7909 w 10078"/>
              <a:gd name="connsiteY31" fmla="*/ 6378 h 10096"/>
              <a:gd name="connsiteX32" fmla="*/ 7909 w 10078"/>
              <a:gd name="connsiteY32" fmla="*/ 6378 h 10096"/>
              <a:gd name="connsiteX33" fmla="*/ 7816 w 10078"/>
              <a:gd name="connsiteY33" fmla="*/ 6278 h 10096"/>
              <a:gd name="connsiteX34" fmla="*/ 7717 w 10078"/>
              <a:gd name="connsiteY34" fmla="*/ 6179 h 10096"/>
              <a:gd name="connsiteX35" fmla="*/ 7613 w 10078"/>
              <a:gd name="connsiteY35" fmla="*/ 6091 h 10096"/>
              <a:gd name="connsiteX36" fmla="*/ 7499 w 10078"/>
              <a:gd name="connsiteY36" fmla="*/ 6003 h 10096"/>
              <a:gd name="connsiteX37" fmla="*/ 7377 w 10078"/>
              <a:gd name="connsiteY37" fmla="*/ 5919 h 10096"/>
              <a:gd name="connsiteX38" fmla="*/ 7260 w 10078"/>
              <a:gd name="connsiteY38" fmla="*/ 5841 h 10096"/>
              <a:gd name="connsiteX39" fmla="*/ 7131 w 10078"/>
              <a:gd name="connsiteY39" fmla="*/ 5765 h 10096"/>
              <a:gd name="connsiteX40" fmla="*/ 7005 w 10078"/>
              <a:gd name="connsiteY40" fmla="*/ 5693 h 10096"/>
              <a:gd name="connsiteX41" fmla="*/ 7005 w 10078"/>
              <a:gd name="connsiteY41" fmla="*/ 5693 h 10096"/>
              <a:gd name="connsiteX42" fmla="*/ 6814 w 10078"/>
              <a:gd name="connsiteY42" fmla="*/ 5587 h 10096"/>
              <a:gd name="connsiteX43" fmla="*/ 6624 w 10078"/>
              <a:gd name="connsiteY43" fmla="*/ 5493 h 10096"/>
              <a:gd name="connsiteX44" fmla="*/ 6433 w 10078"/>
              <a:gd name="connsiteY44" fmla="*/ 5400 h 10096"/>
              <a:gd name="connsiteX45" fmla="*/ 6236 w 10078"/>
              <a:gd name="connsiteY45" fmla="*/ 5313 h 10096"/>
              <a:gd name="connsiteX46" fmla="*/ 6038 w 10078"/>
              <a:gd name="connsiteY46" fmla="*/ 5229 h 10096"/>
              <a:gd name="connsiteX47" fmla="*/ 5834 w 10078"/>
              <a:gd name="connsiteY47" fmla="*/ 5147 h 10096"/>
              <a:gd name="connsiteX48" fmla="*/ 5628 w 10078"/>
              <a:gd name="connsiteY48" fmla="*/ 5070 h 10096"/>
              <a:gd name="connsiteX49" fmla="*/ 5426 w 10078"/>
              <a:gd name="connsiteY49" fmla="*/ 4992 h 10096"/>
              <a:gd name="connsiteX50" fmla="*/ 5426 w 10078"/>
              <a:gd name="connsiteY50" fmla="*/ 4992 h 10096"/>
              <a:gd name="connsiteX51" fmla="*/ 4747 w 10078"/>
              <a:gd name="connsiteY51" fmla="*/ 4760 h 10096"/>
              <a:gd name="connsiteX52" fmla="*/ 4077 w 10078"/>
              <a:gd name="connsiteY52" fmla="*/ 4528 h 10096"/>
              <a:gd name="connsiteX53" fmla="*/ 2731 w 10078"/>
              <a:gd name="connsiteY53" fmla="*/ 4070 h 10096"/>
              <a:gd name="connsiteX54" fmla="*/ 2731 w 10078"/>
              <a:gd name="connsiteY54" fmla="*/ 4070 h 10096"/>
              <a:gd name="connsiteX55" fmla="*/ 2506 w 10078"/>
              <a:gd name="connsiteY55" fmla="*/ 3993 h 10096"/>
              <a:gd name="connsiteX56" fmla="*/ 2280 w 10078"/>
              <a:gd name="connsiteY56" fmla="*/ 3908 h 10096"/>
              <a:gd name="connsiteX57" fmla="*/ 2059 w 10078"/>
              <a:gd name="connsiteY57" fmla="*/ 3821 h 10096"/>
              <a:gd name="connsiteX58" fmla="*/ 1848 w 10078"/>
              <a:gd name="connsiteY58" fmla="*/ 3728 h 10096"/>
              <a:gd name="connsiteX59" fmla="*/ 1645 w 10078"/>
              <a:gd name="connsiteY59" fmla="*/ 3623 h 10096"/>
              <a:gd name="connsiteX60" fmla="*/ 1447 w 10078"/>
              <a:gd name="connsiteY60" fmla="*/ 3512 h 10096"/>
              <a:gd name="connsiteX61" fmla="*/ 1249 w 10078"/>
              <a:gd name="connsiteY61" fmla="*/ 3395 h 10096"/>
              <a:gd name="connsiteX62" fmla="*/ 1066 w 10078"/>
              <a:gd name="connsiteY62" fmla="*/ 3269 h 10096"/>
              <a:gd name="connsiteX63" fmla="*/ 1066 w 10078"/>
              <a:gd name="connsiteY63" fmla="*/ 3269 h 10096"/>
              <a:gd name="connsiteX64" fmla="*/ 924 w 10078"/>
              <a:gd name="connsiteY64" fmla="*/ 3159 h 10096"/>
              <a:gd name="connsiteX65" fmla="*/ 791 w 10078"/>
              <a:gd name="connsiteY65" fmla="*/ 3048 h 10096"/>
              <a:gd name="connsiteX66" fmla="*/ 664 w 10078"/>
              <a:gd name="connsiteY66" fmla="*/ 2931 h 10096"/>
              <a:gd name="connsiteX67" fmla="*/ 559 w 10078"/>
              <a:gd name="connsiteY67" fmla="*/ 2816 h 10096"/>
              <a:gd name="connsiteX68" fmla="*/ 451 w 10078"/>
              <a:gd name="connsiteY68" fmla="*/ 2695 h 10096"/>
              <a:gd name="connsiteX69" fmla="*/ 361 w 10078"/>
              <a:gd name="connsiteY69" fmla="*/ 2568 h 10096"/>
              <a:gd name="connsiteX70" fmla="*/ 282 w 10078"/>
              <a:gd name="connsiteY70" fmla="*/ 2440 h 10096"/>
              <a:gd name="connsiteX71" fmla="*/ 206 w 10078"/>
              <a:gd name="connsiteY71" fmla="*/ 2313 h 10096"/>
              <a:gd name="connsiteX72" fmla="*/ 150 w 10078"/>
              <a:gd name="connsiteY72" fmla="*/ 2182 h 10096"/>
              <a:gd name="connsiteX73" fmla="*/ 99 w 10078"/>
              <a:gd name="connsiteY73" fmla="*/ 2042 h 10096"/>
              <a:gd name="connsiteX74" fmla="*/ 56 w 10078"/>
              <a:gd name="connsiteY74" fmla="*/ 1899 h 10096"/>
              <a:gd name="connsiteX75" fmla="*/ 28 w 10078"/>
              <a:gd name="connsiteY75" fmla="*/ 1756 h 10096"/>
              <a:gd name="connsiteX76" fmla="*/ 8 w 10078"/>
              <a:gd name="connsiteY76" fmla="*/ 1612 h 10096"/>
              <a:gd name="connsiteX77" fmla="*/ 0 w 10078"/>
              <a:gd name="connsiteY77" fmla="*/ 1462 h 10096"/>
              <a:gd name="connsiteX78" fmla="*/ 0 w 10078"/>
              <a:gd name="connsiteY78" fmla="*/ 1308 h 10096"/>
              <a:gd name="connsiteX79" fmla="*/ 13 w 10078"/>
              <a:gd name="connsiteY79" fmla="*/ 1154 h 10096"/>
              <a:gd name="connsiteX80" fmla="*/ 13 w 10078"/>
              <a:gd name="connsiteY80" fmla="*/ 1154 h 10096"/>
              <a:gd name="connsiteX81" fmla="*/ 36 w 10078"/>
              <a:gd name="connsiteY81" fmla="*/ 1012 h 10096"/>
              <a:gd name="connsiteX82" fmla="*/ 64 w 10078"/>
              <a:gd name="connsiteY82" fmla="*/ 868 h 10096"/>
              <a:gd name="connsiteX83" fmla="*/ 107 w 10078"/>
              <a:gd name="connsiteY83" fmla="*/ 723 h 10096"/>
              <a:gd name="connsiteX84" fmla="*/ 150 w 10078"/>
              <a:gd name="connsiteY84" fmla="*/ 585 h 10096"/>
              <a:gd name="connsiteX85" fmla="*/ 206 w 10078"/>
              <a:gd name="connsiteY85" fmla="*/ 448 h 10096"/>
              <a:gd name="connsiteX86" fmla="*/ 269 w 10078"/>
              <a:gd name="connsiteY86" fmla="*/ 308 h 10096"/>
              <a:gd name="connsiteX87" fmla="*/ 333 w 10078"/>
              <a:gd name="connsiteY87" fmla="*/ 177 h 10096"/>
              <a:gd name="connsiteX88" fmla="*/ 417 w 10078"/>
              <a:gd name="connsiteY88" fmla="*/ 44 h 10096"/>
              <a:gd name="connsiteX89" fmla="*/ 417 w 10078"/>
              <a:gd name="connsiteY89" fmla="*/ 44 h 10096"/>
              <a:gd name="connsiteX90" fmla="*/ 432 w 10078"/>
              <a:gd name="connsiteY90" fmla="*/ 0 h 10096"/>
              <a:gd name="connsiteX91" fmla="*/ 432 w 10078"/>
              <a:gd name="connsiteY91" fmla="*/ 0 h 10096"/>
              <a:gd name="connsiteX0" fmla="*/ 432 w 10921"/>
              <a:gd name="connsiteY0" fmla="*/ 0 h 10096"/>
              <a:gd name="connsiteX1" fmla="*/ 432 w 10921"/>
              <a:gd name="connsiteY1" fmla="*/ 0 h 10096"/>
              <a:gd name="connsiteX2" fmla="*/ 10000 w 10921"/>
              <a:gd name="connsiteY2" fmla="*/ 0 h 10096"/>
              <a:gd name="connsiteX3" fmla="*/ 10000 w 10921"/>
              <a:gd name="connsiteY3" fmla="*/ 10096 h 10096"/>
              <a:gd name="connsiteX4" fmla="*/ 9537 w 10921"/>
              <a:gd name="connsiteY4" fmla="*/ 9785 h 10096"/>
              <a:gd name="connsiteX5" fmla="*/ 9172 w 10921"/>
              <a:gd name="connsiteY5" fmla="*/ 9563 h 10096"/>
              <a:gd name="connsiteX6" fmla="*/ 8811 w 10921"/>
              <a:gd name="connsiteY6" fmla="*/ 9338 h 10096"/>
              <a:gd name="connsiteX7" fmla="*/ 8452 w 10921"/>
              <a:gd name="connsiteY7" fmla="*/ 9110 h 10096"/>
              <a:gd name="connsiteX8" fmla="*/ 8099 w 10921"/>
              <a:gd name="connsiteY8" fmla="*/ 8873 h 10096"/>
              <a:gd name="connsiteX9" fmla="*/ 8099 w 10921"/>
              <a:gd name="connsiteY9" fmla="*/ 8873 h 10096"/>
              <a:gd name="connsiteX10" fmla="*/ 7688 w 10921"/>
              <a:gd name="connsiteY10" fmla="*/ 8603 h 10096"/>
              <a:gd name="connsiteX11" fmla="*/ 7688 w 10921"/>
              <a:gd name="connsiteY11" fmla="*/ 8603 h 10096"/>
              <a:gd name="connsiteX12" fmla="*/ 7830 w 10921"/>
              <a:gd name="connsiteY12" fmla="*/ 8391 h 10096"/>
              <a:gd name="connsiteX13" fmla="*/ 7957 w 10921"/>
              <a:gd name="connsiteY13" fmla="*/ 8183 h 10096"/>
              <a:gd name="connsiteX14" fmla="*/ 7957 w 10921"/>
              <a:gd name="connsiteY14" fmla="*/ 8183 h 10096"/>
              <a:gd name="connsiteX15" fmla="*/ 8014 w 10921"/>
              <a:gd name="connsiteY15" fmla="*/ 8084 h 10096"/>
              <a:gd name="connsiteX16" fmla="*/ 8064 w 10921"/>
              <a:gd name="connsiteY16" fmla="*/ 7980 h 10096"/>
              <a:gd name="connsiteX17" fmla="*/ 8113 w 10921"/>
              <a:gd name="connsiteY17" fmla="*/ 7875 h 10096"/>
              <a:gd name="connsiteX18" fmla="*/ 8156 w 10921"/>
              <a:gd name="connsiteY18" fmla="*/ 7769 h 10096"/>
              <a:gd name="connsiteX19" fmla="*/ 8189 w 10921"/>
              <a:gd name="connsiteY19" fmla="*/ 7658 h 10096"/>
              <a:gd name="connsiteX20" fmla="*/ 8217 w 10921"/>
              <a:gd name="connsiteY20" fmla="*/ 7554 h 10096"/>
              <a:gd name="connsiteX21" fmla="*/ 8232 w 10921"/>
              <a:gd name="connsiteY21" fmla="*/ 7444 h 10096"/>
              <a:gd name="connsiteX22" fmla="*/ 8246 w 10921"/>
              <a:gd name="connsiteY22" fmla="*/ 7327 h 10096"/>
              <a:gd name="connsiteX23" fmla="*/ 8246 w 10921"/>
              <a:gd name="connsiteY23" fmla="*/ 7327 h 10096"/>
              <a:gd name="connsiteX24" fmla="*/ 8253 w 10921"/>
              <a:gd name="connsiteY24" fmla="*/ 7201 h 10096"/>
              <a:gd name="connsiteX25" fmla="*/ 8240 w 10921"/>
              <a:gd name="connsiteY25" fmla="*/ 7074 h 10096"/>
              <a:gd name="connsiteX26" fmla="*/ 8217 w 10921"/>
              <a:gd name="connsiteY26" fmla="*/ 6952 h 10096"/>
              <a:gd name="connsiteX27" fmla="*/ 8185 w 10921"/>
              <a:gd name="connsiteY27" fmla="*/ 6831 h 10096"/>
              <a:gd name="connsiteX28" fmla="*/ 8134 w 10921"/>
              <a:gd name="connsiteY28" fmla="*/ 6714 h 10096"/>
              <a:gd name="connsiteX29" fmla="*/ 8072 w 10921"/>
              <a:gd name="connsiteY29" fmla="*/ 6599 h 10096"/>
              <a:gd name="connsiteX30" fmla="*/ 7991 w 10921"/>
              <a:gd name="connsiteY30" fmla="*/ 6486 h 10096"/>
              <a:gd name="connsiteX31" fmla="*/ 7909 w 10921"/>
              <a:gd name="connsiteY31" fmla="*/ 6378 h 10096"/>
              <a:gd name="connsiteX32" fmla="*/ 7909 w 10921"/>
              <a:gd name="connsiteY32" fmla="*/ 6378 h 10096"/>
              <a:gd name="connsiteX33" fmla="*/ 7816 w 10921"/>
              <a:gd name="connsiteY33" fmla="*/ 6278 h 10096"/>
              <a:gd name="connsiteX34" fmla="*/ 7717 w 10921"/>
              <a:gd name="connsiteY34" fmla="*/ 6179 h 10096"/>
              <a:gd name="connsiteX35" fmla="*/ 7613 w 10921"/>
              <a:gd name="connsiteY35" fmla="*/ 6091 h 10096"/>
              <a:gd name="connsiteX36" fmla="*/ 7499 w 10921"/>
              <a:gd name="connsiteY36" fmla="*/ 6003 h 10096"/>
              <a:gd name="connsiteX37" fmla="*/ 7377 w 10921"/>
              <a:gd name="connsiteY37" fmla="*/ 5919 h 10096"/>
              <a:gd name="connsiteX38" fmla="*/ 7260 w 10921"/>
              <a:gd name="connsiteY38" fmla="*/ 5841 h 10096"/>
              <a:gd name="connsiteX39" fmla="*/ 7131 w 10921"/>
              <a:gd name="connsiteY39" fmla="*/ 5765 h 10096"/>
              <a:gd name="connsiteX40" fmla="*/ 7005 w 10921"/>
              <a:gd name="connsiteY40" fmla="*/ 5693 h 10096"/>
              <a:gd name="connsiteX41" fmla="*/ 7005 w 10921"/>
              <a:gd name="connsiteY41" fmla="*/ 5693 h 10096"/>
              <a:gd name="connsiteX42" fmla="*/ 6814 w 10921"/>
              <a:gd name="connsiteY42" fmla="*/ 5587 h 10096"/>
              <a:gd name="connsiteX43" fmla="*/ 6624 w 10921"/>
              <a:gd name="connsiteY43" fmla="*/ 5493 h 10096"/>
              <a:gd name="connsiteX44" fmla="*/ 6433 w 10921"/>
              <a:gd name="connsiteY44" fmla="*/ 5400 h 10096"/>
              <a:gd name="connsiteX45" fmla="*/ 6236 w 10921"/>
              <a:gd name="connsiteY45" fmla="*/ 5313 h 10096"/>
              <a:gd name="connsiteX46" fmla="*/ 6038 w 10921"/>
              <a:gd name="connsiteY46" fmla="*/ 5229 h 10096"/>
              <a:gd name="connsiteX47" fmla="*/ 5834 w 10921"/>
              <a:gd name="connsiteY47" fmla="*/ 5147 h 10096"/>
              <a:gd name="connsiteX48" fmla="*/ 5628 w 10921"/>
              <a:gd name="connsiteY48" fmla="*/ 5070 h 10096"/>
              <a:gd name="connsiteX49" fmla="*/ 5426 w 10921"/>
              <a:gd name="connsiteY49" fmla="*/ 4992 h 10096"/>
              <a:gd name="connsiteX50" fmla="*/ 5426 w 10921"/>
              <a:gd name="connsiteY50" fmla="*/ 4992 h 10096"/>
              <a:gd name="connsiteX51" fmla="*/ 4747 w 10921"/>
              <a:gd name="connsiteY51" fmla="*/ 4760 h 10096"/>
              <a:gd name="connsiteX52" fmla="*/ 4077 w 10921"/>
              <a:gd name="connsiteY52" fmla="*/ 4528 h 10096"/>
              <a:gd name="connsiteX53" fmla="*/ 2731 w 10921"/>
              <a:gd name="connsiteY53" fmla="*/ 4070 h 10096"/>
              <a:gd name="connsiteX54" fmla="*/ 2731 w 10921"/>
              <a:gd name="connsiteY54" fmla="*/ 4070 h 10096"/>
              <a:gd name="connsiteX55" fmla="*/ 2506 w 10921"/>
              <a:gd name="connsiteY55" fmla="*/ 3993 h 10096"/>
              <a:gd name="connsiteX56" fmla="*/ 2280 w 10921"/>
              <a:gd name="connsiteY56" fmla="*/ 3908 h 10096"/>
              <a:gd name="connsiteX57" fmla="*/ 2059 w 10921"/>
              <a:gd name="connsiteY57" fmla="*/ 3821 h 10096"/>
              <a:gd name="connsiteX58" fmla="*/ 1848 w 10921"/>
              <a:gd name="connsiteY58" fmla="*/ 3728 h 10096"/>
              <a:gd name="connsiteX59" fmla="*/ 1645 w 10921"/>
              <a:gd name="connsiteY59" fmla="*/ 3623 h 10096"/>
              <a:gd name="connsiteX60" fmla="*/ 1447 w 10921"/>
              <a:gd name="connsiteY60" fmla="*/ 3512 h 10096"/>
              <a:gd name="connsiteX61" fmla="*/ 1249 w 10921"/>
              <a:gd name="connsiteY61" fmla="*/ 3395 h 10096"/>
              <a:gd name="connsiteX62" fmla="*/ 1066 w 10921"/>
              <a:gd name="connsiteY62" fmla="*/ 3269 h 10096"/>
              <a:gd name="connsiteX63" fmla="*/ 1066 w 10921"/>
              <a:gd name="connsiteY63" fmla="*/ 3269 h 10096"/>
              <a:gd name="connsiteX64" fmla="*/ 924 w 10921"/>
              <a:gd name="connsiteY64" fmla="*/ 3159 h 10096"/>
              <a:gd name="connsiteX65" fmla="*/ 791 w 10921"/>
              <a:gd name="connsiteY65" fmla="*/ 3048 h 10096"/>
              <a:gd name="connsiteX66" fmla="*/ 664 w 10921"/>
              <a:gd name="connsiteY66" fmla="*/ 2931 h 10096"/>
              <a:gd name="connsiteX67" fmla="*/ 559 w 10921"/>
              <a:gd name="connsiteY67" fmla="*/ 2816 h 10096"/>
              <a:gd name="connsiteX68" fmla="*/ 451 w 10921"/>
              <a:gd name="connsiteY68" fmla="*/ 2695 h 10096"/>
              <a:gd name="connsiteX69" fmla="*/ 361 w 10921"/>
              <a:gd name="connsiteY69" fmla="*/ 2568 h 10096"/>
              <a:gd name="connsiteX70" fmla="*/ 282 w 10921"/>
              <a:gd name="connsiteY70" fmla="*/ 2440 h 10096"/>
              <a:gd name="connsiteX71" fmla="*/ 206 w 10921"/>
              <a:gd name="connsiteY71" fmla="*/ 2313 h 10096"/>
              <a:gd name="connsiteX72" fmla="*/ 150 w 10921"/>
              <a:gd name="connsiteY72" fmla="*/ 2182 h 10096"/>
              <a:gd name="connsiteX73" fmla="*/ 99 w 10921"/>
              <a:gd name="connsiteY73" fmla="*/ 2042 h 10096"/>
              <a:gd name="connsiteX74" fmla="*/ 56 w 10921"/>
              <a:gd name="connsiteY74" fmla="*/ 1899 h 10096"/>
              <a:gd name="connsiteX75" fmla="*/ 28 w 10921"/>
              <a:gd name="connsiteY75" fmla="*/ 1756 h 10096"/>
              <a:gd name="connsiteX76" fmla="*/ 8 w 10921"/>
              <a:gd name="connsiteY76" fmla="*/ 1612 h 10096"/>
              <a:gd name="connsiteX77" fmla="*/ 0 w 10921"/>
              <a:gd name="connsiteY77" fmla="*/ 1462 h 10096"/>
              <a:gd name="connsiteX78" fmla="*/ 0 w 10921"/>
              <a:gd name="connsiteY78" fmla="*/ 1308 h 10096"/>
              <a:gd name="connsiteX79" fmla="*/ 13 w 10921"/>
              <a:gd name="connsiteY79" fmla="*/ 1154 h 10096"/>
              <a:gd name="connsiteX80" fmla="*/ 13 w 10921"/>
              <a:gd name="connsiteY80" fmla="*/ 1154 h 10096"/>
              <a:gd name="connsiteX81" fmla="*/ 36 w 10921"/>
              <a:gd name="connsiteY81" fmla="*/ 1012 h 10096"/>
              <a:gd name="connsiteX82" fmla="*/ 64 w 10921"/>
              <a:gd name="connsiteY82" fmla="*/ 868 h 10096"/>
              <a:gd name="connsiteX83" fmla="*/ 107 w 10921"/>
              <a:gd name="connsiteY83" fmla="*/ 723 h 10096"/>
              <a:gd name="connsiteX84" fmla="*/ 150 w 10921"/>
              <a:gd name="connsiteY84" fmla="*/ 585 h 10096"/>
              <a:gd name="connsiteX85" fmla="*/ 206 w 10921"/>
              <a:gd name="connsiteY85" fmla="*/ 448 h 10096"/>
              <a:gd name="connsiteX86" fmla="*/ 269 w 10921"/>
              <a:gd name="connsiteY86" fmla="*/ 308 h 10096"/>
              <a:gd name="connsiteX87" fmla="*/ 333 w 10921"/>
              <a:gd name="connsiteY87" fmla="*/ 177 h 10096"/>
              <a:gd name="connsiteX88" fmla="*/ 417 w 10921"/>
              <a:gd name="connsiteY88" fmla="*/ 44 h 10096"/>
              <a:gd name="connsiteX89" fmla="*/ 417 w 10921"/>
              <a:gd name="connsiteY89" fmla="*/ 44 h 10096"/>
              <a:gd name="connsiteX90" fmla="*/ 432 w 10921"/>
              <a:gd name="connsiteY90" fmla="*/ 0 h 10096"/>
              <a:gd name="connsiteX91" fmla="*/ 432 w 10921"/>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141"/>
              <a:gd name="connsiteX1" fmla="*/ 432 w 10017"/>
              <a:gd name="connsiteY1" fmla="*/ 0 h 10141"/>
              <a:gd name="connsiteX2" fmla="*/ 10000 w 10017"/>
              <a:gd name="connsiteY2" fmla="*/ 0 h 10141"/>
              <a:gd name="connsiteX3" fmla="*/ 10000 w 10017"/>
              <a:gd name="connsiteY3" fmla="*/ 10096 h 10141"/>
              <a:gd name="connsiteX4" fmla="*/ 9537 w 10017"/>
              <a:gd name="connsiteY4" fmla="*/ 9785 h 10141"/>
              <a:gd name="connsiteX5" fmla="*/ 9172 w 10017"/>
              <a:gd name="connsiteY5" fmla="*/ 9563 h 10141"/>
              <a:gd name="connsiteX6" fmla="*/ 8811 w 10017"/>
              <a:gd name="connsiteY6" fmla="*/ 9338 h 10141"/>
              <a:gd name="connsiteX7" fmla="*/ 8452 w 10017"/>
              <a:gd name="connsiteY7" fmla="*/ 9110 h 10141"/>
              <a:gd name="connsiteX8" fmla="*/ 8099 w 10017"/>
              <a:gd name="connsiteY8" fmla="*/ 8873 h 10141"/>
              <a:gd name="connsiteX9" fmla="*/ 8099 w 10017"/>
              <a:gd name="connsiteY9" fmla="*/ 8873 h 10141"/>
              <a:gd name="connsiteX10" fmla="*/ 7688 w 10017"/>
              <a:gd name="connsiteY10" fmla="*/ 8603 h 10141"/>
              <a:gd name="connsiteX11" fmla="*/ 7688 w 10017"/>
              <a:gd name="connsiteY11" fmla="*/ 8603 h 10141"/>
              <a:gd name="connsiteX12" fmla="*/ 7830 w 10017"/>
              <a:gd name="connsiteY12" fmla="*/ 8391 h 10141"/>
              <a:gd name="connsiteX13" fmla="*/ 7957 w 10017"/>
              <a:gd name="connsiteY13" fmla="*/ 8183 h 10141"/>
              <a:gd name="connsiteX14" fmla="*/ 7957 w 10017"/>
              <a:gd name="connsiteY14" fmla="*/ 8183 h 10141"/>
              <a:gd name="connsiteX15" fmla="*/ 8014 w 10017"/>
              <a:gd name="connsiteY15" fmla="*/ 8084 h 10141"/>
              <a:gd name="connsiteX16" fmla="*/ 8064 w 10017"/>
              <a:gd name="connsiteY16" fmla="*/ 7980 h 10141"/>
              <a:gd name="connsiteX17" fmla="*/ 8113 w 10017"/>
              <a:gd name="connsiteY17" fmla="*/ 7875 h 10141"/>
              <a:gd name="connsiteX18" fmla="*/ 8156 w 10017"/>
              <a:gd name="connsiteY18" fmla="*/ 7769 h 10141"/>
              <a:gd name="connsiteX19" fmla="*/ 8189 w 10017"/>
              <a:gd name="connsiteY19" fmla="*/ 7658 h 10141"/>
              <a:gd name="connsiteX20" fmla="*/ 8217 w 10017"/>
              <a:gd name="connsiteY20" fmla="*/ 7554 h 10141"/>
              <a:gd name="connsiteX21" fmla="*/ 8232 w 10017"/>
              <a:gd name="connsiteY21" fmla="*/ 7444 h 10141"/>
              <a:gd name="connsiteX22" fmla="*/ 8246 w 10017"/>
              <a:gd name="connsiteY22" fmla="*/ 7327 h 10141"/>
              <a:gd name="connsiteX23" fmla="*/ 8246 w 10017"/>
              <a:gd name="connsiteY23" fmla="*/ 7327 h 10141"/>
              <a:gd name="connsiteX24" fmla="*/ 8253 w 10017"/>
              <a:gd name="connsiteY24" fmla="*/ 7201 h 10141"/>
              <a:gd name="connsiteX25" fmla="*/ 8240 w 10017"/>
              <a:gd name="connsiteY25" fmla="*/ 7074 h 10141"/>
              <a:gd name="connsiteX26" fmla="*/ 8217 w 10017"/>
              <a:gd name="connsiteY26" fmla="*/ 6952 h 10141"/>
              <a:gd name="connsiteX27" fmla="*/ 8185 w 10017"/>
              <a:gd name="connsiteY27" fmla="*/ 6831 h 10141"/>
              <a:gd name="connsiteX28" fmla="*/ 8134 w 10017"/>
              <a:gd name="connsiteY28" fmla="*/ 6714 h 10141"/>
              <a:gd name="connsiteX29" fmla="*/ 8072 w 10017"/>
              <a:gd name="connsiteY29" fmla="*/ 6599 h 10141"/>
              <a:gd name="connsiteX30" fmla="*/ 7991 w 10017"/>
              <a:gd name="connsiteY30" fmla="*/ 6486 h 10141"/>
              <a:gd name="connsiteX31" fmla="*/ 7909 w 10017"/>
              <a:gd name="connsiteY31" fmla="*/ 6378 h 10141"/>
              <a:gd name="connsiteX32" fmla="*/ 7909 w 10017"/>
              <a:gd name="connsiteY32" fmla="*/ 6378 h 10141"/>
              <a:gd name="connsiteX33" fmla="*/ 7816 w 10017"/>
              <a:gd name="connsiteY33" fmla="*/ 6278 h 10141"/>
              <a:gd name="connsiteX34" fmla="*/ 7717 w 10017"/>
              <a:gd name="connsiteY34" fmla="*/ 6179 h 10141"/>
              <a:gd name="connsiteX35" fmla="*/ 7613 w 10017"/>
              <a:gd name="connsiteY35" fmla="*/ 6091 h 10141"/>
              <a:gd name="connsiteX36" fmla="*/ 7499 w 10017"/>
              <a:gd name="connsiteY36" fmla="*/ 6003 h 10141"/>
              <a:gd name="connsiteX37" fmla="*/ 7377 w 10017"/>
              <a:gd name="connsiteY37" fmla="*/ 5919 h 10141"/>
              <a:gd name="connsiteX38" fmla="*/ 7260 w 10017"/>
              <a:gd name="connsiteY38" fmla="*/ 5841 h 10141"/>
              <a:gd name="connsiteX39" fmla="*/ 7131 w 10017"/>
              <a:gd name="connsiteY39" fmla="*/ 5765 h 10141"/>
              <a:gd name="connsiteX40" fmla="*/ 7005 w 10017"/>
              <a:gd name="connsiteY40" fmla="*/ 5693 h 10141"/>
              <a:gd name="connsiteX41" fmla="*/ 7005 w 10017"/>
              <a:gd name="connsiteY41" fmla="*/ 5693 h 10141"/>
              <a:gd name="connsiteX42" fmla="*/ 6814 w 10017"/>
              <a:gd name="connsiteY42" fmla="*/ 5587 h 10141"/>
              <a:gd name="connsiteX43" fmla="*/ 6624 w 10017"/>
              <a:gd name="connsiteY43" fmla="*/ 5493 h 10141"/>
              <a:gd name="connsiteX44" fmla="*/ 6433 w 10017"/>
              <a:gd name="connsiteY44" fmla="*/ 5400 h 10141"/>
              <a:gd name="connsiteX45" fmla="*/ 6236 w 10017"/>
              <a:gd name="connsiteY45" fmla="*/ 5313 h 10141"/>
              <a:gd name="connsiteX46" fmla="*/ 6038 w 10017"/>
              <a:gd name="connsiteY46" fmla="*/ 5229 h 10141"/>
              <a:gd name="connsiteX47" fmla="*/ 5834 w 10017"/>
              <a:gd name="connsiteY47" fmla="*/ 5147 h 10141"/>
              <a:gd name="connsiteX48" fmla="*/ 5628 w 10017"/>
              <a:gd name="connsiteY48" fmla="*/ 5070 h 10141"/>
              <a:gd name="connsiteX49" fmla="*/ 5426 w 10017"/>
              <a:gd name="connsiteY49" fmla="*/ 4992 h 10141"/>
              <a:gd name="connsiteX50" fmla="*/ 5426 w 10017"/>
              <a:gd name="connsiteY50" fmla="*/ 4992 h 10141"/>
              <a:gd name="connsiteX51" fmla="*/ 4747 w 10017"/>
              <a:gd name="connsiteY51" fmla="*/ 4760 h 10141"/>
              <a:gd name="connsiteX52" fmla="*/ 4077 w 10017"/>
              <a:gd name="connsiteY52" fmla="*/ 4528 h 10141"/>
              <a:gd name="connsiteX53" fmla="*/ 2731 w 10017"/>
              <a:gd name="connsiteY53" fmla="*/ 4070 h 10141"/>
              <a:gd name="connsiteX54" fmla="*/ 2731 w 10017"/>
              <a:gd name="connsiteY54" fmla="*/ 4070 h 10141"/>
              <a:gd name="connsiteX55" fmla="*/ 2506 w 10017"/>
              <a:gd name="connsiteY55" fmla="*/ 3993 h 10141"/>
              <a:gd name="connsiteX56" fmla="*/ 2280 w 10017"/>
              <a:gd name="connsiteY56" fmla="*/ 3908 h 10141"/>
              <a:gd name="connsiteX57" fmla="*/ 2059 w 10017"/>
              <a:gd name="connsiteY57" fmla="*/ 3821 h 10141"/>
              <a:gd name="connsiteX58" fmla="*/ 1848 w 10017"/>
              <a:gd name="connsiteY58" fmla="*/ 3728 h 10141"/>
              <a:gd name="connsiteX59" fmla="*/ 1645 w 10017"/>
              <a:gd name="connsiteY59" fmla="*/ 3623 h 10141"/>
              <a:gd name="connsiteX60" fmla="*/ 1447 w 10017"/>
              <a:gd name="connsiteY60" fmla="*/ 3512 h 10141"/>
              <a:gd name="connsiteX61" fmla="*/ 1249 w 10017"/>
              <a:gd name="connsiteY61" fmla="*/ 3395 h 10141"/>
              <a:gd name="connsiteX62" fmla="*/ 1066 w 10017"/>
              <a:gd name="connsiteY62" fmla="*/ 3269 h 10141"/>
              <a:gd name="connsiteX63" fmla="*/ 1066 w 10017"/>
              <a:gd name="connsiteY63" fmla="*/ 3269 h 10141"/>
              <a:gd name="connsiteX64" fmla="*/ 924 w 10017"/>
              <a:gd name="connsiteY64" fmla="*/ 3159 h 10141"/>
              <a:gd name="connsiteX65" fmla="*/ 791 w 10017"/>
              <a:gd name="connsiteY65" fmla="*/ 3048 h 10141"/>
              <a:gd name="connsiteX66" fmla="*/ 664 w 10017"/>
              <a:gd name="connsiteY66" fmla="*/ 2931 h 10141"/>
              <a:gd name="connsiteX67" fmla="*/ 559 w 10017"/>
              <a:gd name="connsiteY67" fmla="*/ 2816 h 10141"/>
              <a:gd name="connsiteX68" fmla="*/ 451 w 10017"/>
              <a:gd name="connsiteY68" fmla="*/ 2695 h 10141"/>
              <a:gd name="connsiteX69" fmla="*/ 361 w 10017"/>
              <a:gd name="connsiteY69" fmla="*/ 2568 h 10141"/>
              <a:gd name="connsiteX70" fmla="*/ 282 w 10017"/>
              <a:gd name="connsiteY70" fmla="*/ 2440 h 10141"/>
              <a:gd name="connsiteX71" fmla="*/ 206 w 10017"/>
              <a:gd name="connsiteY71" fmla="*/ 2313 h 10141"/>
              <a:gd name="connsiteX72" fmla="*/ 150 w 10017"/>
              <a:gd name="connsiteY72" fmla="*/ 2182 h 10141"/>
              <a:gd name="connsiteX73" fmla="*/ 99 w 10017"/>
              <a:gd name="connsiteY73" fmla="*/ 2042 h 10141"/>
              <a:gd name="connsiteX74" fmla="*/ 56 w 10017"/>
              <a:gd name="connsiteY74" fmla="*/ 1899 h 10141"/>
              <a:gd name="connsiteX75" fmla="*/ 28 w 10017"/>
              <a:gd name="connsiteY75" fmla="*/ 1756 h 10141"/>
              <a:gd name="connsiteX76" fmla="*/ 8 w 10017"/>
              <a:gd name="connsiteY76" fmla="*/ 1612 h 10141"/>
              <a:gd name="connsiteX77" fmla="*/ 0 w 10017"/>
              <a:gd name="connsiteY77" fmla="*/ 1462 h 10141"/>
              <a:gd name="connsiteX78" fmla="*/ 0 w 10017"/>
              <a:gd name="connsiteY78" fmla="*/ 1308 h 10141"/>
              <a:gd name="connsiteX79" fmla="*/ 13 w 10017"/>
              <a:gd name="connsiteY79" fmla="*/ 1154 h 10141"/>
              <a:gd name="connsiteX80" fmla="*/ 13 w 10017"/>
              <a:gd name="connsiteY80" fmla="*/ 1154 h 10141"/>
              <a:gd name="connsiteX81" fmla="*/ 36 w 10017"/>
              <a:gd name="connsiteY81" fmla="*/ 1012 h 10141"/>
              <a:gd name="connsiteX82" fmla="*/ 64 w 10017"/>
              <a:gd name="connsiteY82" fmla="*/ 868 h 10141"/>
              <a:gd name="connsiteX83" fmla="*/ 107 w 10017"/>
              <a:gd name="connsiteY83" fmla="*/ 723 h 10141"/>
              <a:gd name="connsiteX84" fmla="*/ 150 w 10017"/>
              <a:gd name="connsiteY84" fmla="*/ 585 h 10141"/>
              <a:gd name="connsiteX85" fmla="*/ 206 w 10017"/>
              <a:gd name="connsiteY85" fmla="*/ 448 h 10141"/>
              <a:gd name="connsiteX86" fmla="*/ 269 w 10017"/>
              <a:gd name="connsiteY86" fmla="*/ 308 h 10141"/>
              <a:gd name="connsiteX87" fmla="*/ 333 w 10017"/>
              <a:gd name="connsiteY87" fmla="*/ 177 h 10141"/>
              <a:gd name="connsiteX88" fmla="*/ 417 w 10017"/>
              <a:gd name="connsiteY88" fmla="*/ 44 h 10141"/>
              <a:gd name="connsiteX89" fmla="*/ 417 w 10017"/>
              <a:gd name="connsiteY89" fmla="*/ 44 h 10141"/>
              <a:gd name="connsiteX90" fmla="*/ 432 w 10017"/>
              <a:gd name="connsiteY90" fmla="*/ 0 h 10141"/>
              <a:gd name="connsiteX91" fmla="*/ 432 w 10017"/>
              <a:gd name="connsiteY91" fmla="*/ 0 h 10141"/>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017" h="10096">
                <a:moveTo>
                  <a:pt x="432" y="0"/>
                </a:moveTo>
                <a:lnTo>
                  <a:pt x="432" y="0"/>
                </a:lnTo>
                <a:lnTo>
                  <a:pt x="10000" y="0"/>
                </a:lnTo>
                <a:cubicBezTo>
                  <a:pt x="10010" y="3085"/>
                  <a:pt x="10017" y="7925"/>
                  <a:pt x="10000" y="10096"/>
                </a:cubicBezTo>
                <a:cubicBezTo>
                  <a:pt x="9808" y="10001"/>
                  <a:pt x="9660" y="9857"/>
                  <a:pt x="9537" y="9785"/>
                </a:cubicBezTo>
                <a:lnTo>
                  <a:pt x="9172" y="9563"/>
                </a:lnTo>
                <a:lnTo>
                  <a:pt x="8811" y="9338"/>
                </a:lnTo>
                <a:lnTo>
                  <a:pt x="8452" y="9110"/>
                </a:lnTo>
                <a:lnTo>
                  <a:pt x="8099" y="8873"/>
                </a:lnTo>
                <a:lnTo>
                  <a:pt x="8099" y="8873"/>
                </a:lnTo>
                <a:lnTo>
                  <a:pt x="7688" y="8603"/>
                </a:lnTo>
                <a:lnTo>
                  <a:pt x="7688" y="8603"/>
                </a:lnTo>
                <a:cubicBezTo>
                  <a:pt x="7736" y="8533"/>
                  <a:pt x="7783" y="8464"/>
                  <a:pt x="7830" y="8391"/>
                </a:cubicBezTo>
                <a:cubicBezTo>
                  <a:pt x="7873" y="8323"/>
                  <a:pt x="7917" y="8253"/>
                  <a:pt x="7957" y="8183"/>
                </a:cubicBezTo>
                <a:lnTo>
                  <a:pt x="7957" y="8183"/>
                </a:lnTo>
                <a:lnTo>
                  <a:pt x="8014" y="8084"/>
                </a:lnTo>
                <a:cubicBezTo>
                  <a:pt x="8029" y="8051"/>
                  <a:pt x="8048" y="8013"/>
                  <a:pt x="8064" y="7980"/>
                </a:cubicBezTo>
                <a:cubicBezTo>
                  <a:pt x="8080" y="7945"/>
                  <a:pt x="8097" y="7908"/>
                  <a:pt x="8113" y="7875"/>
                </a:cubicBezTo>
                <a:cubicBezTo>
                  <a:pt x="8128" y="7839"/>
                  <a:pt x="8142" y="7803"/>
                  <a:pt x="8156" y="7769"/>
                </a:cubicBezTo>
                <a:cubicBezTo>
                  <a:pt x="8166" y="7732"/>
                  <a:pt x="8180" y="7695"/>
                  <a:pt x="8189" y="7658"/>
                </a:cubicBezTo>
                <a:cubicBezTo>
                  <a:pt x="8200" y="7625"/>
                  <a:pt x="8209" y="7587"/>
                  <a:pt x="8217" y="7554"/>
                </a:cubicBezTo>
                <a:cubicBezTo>
                  <a:pt x="8222" y="7518"/>
                  <a:pt x="8227" y="7480"/>
                  <a:pt x="8232" y="7444"/>
                </a:cubicBezTo>
                <a:cubicBezTo>
                  <a:pt x="8237" y="7405"/>
                  <a:pt x="8242" y="7366"/>
                  <a:pt x="8246" y="7327"/>
                </a:cubicBezTo>
                <a:lnTo>
                  <a:pt x="8246" y="7327"/>
                </a:lnTo>
                <a:cubicBezTo>
                  <a:pt x="8250" y="7285"/>
                  <a:pt x="8251" y="7242"/>
                  <a:pt x="8253" y="7201"/>
                </a:cubicBezTo>
                <a:cubicBezTo>
                  <a:pt x="8249" y="7159"/>
                  <a:pt x="8245" y="7116"/>
                  <a:pt x="8240" y="7074"/>
                </a:cubicBezTo>
                <a:cubicBezTo>
                  <a:pt x="8232" y="7033"/>
                  <a:pt x="8225" y="6991"/>
                  <a:pt x="8217" y="6952"/>
                </a:cubicBezTo>
                <a:cubicBezTo>
                  <a:pt x="8207" y="6911"/>
                  <a:pt x="8194" y="6873"/>
                  <a:pt x="8185" y="6831"/>
                </a:cubicBezTo>
                <a:cubicBezTo>
                  <a:pt x="8166" y="6792"/>
                  <a:pt x="8150" y="6753"/>
                  <a:pt x="8134" y="6714"/>
                </a:cubicBezTo>
                <a:cubicBezTo>
                  <a:pt x="8113" y="6676"/>
                  <a:pt x="8092" y="6638"/>
                  <a:pt x="8072" y="6599"/>
                </a:cubicBezTo>
                <a:cubicBezTo>
                  <a:pt x="8044" y="6561"/>
                  <a:pt x="8019" y="6525"/>
                  <a:pt x="7991" y="6486"/>
                </a:cubicBezTo>
                <a:cubicBezTo>
                  <a:pt x="7964" y="6450"/>
                  <a:pt x="7936" y="6415"/>
                  <a:pt x="7909" y="6378"/>
                </a:cubicBezTo>
                <a:lnTo>
                  <a:pt x="7909" y="6378"/>
                </a:lnTo>
                <a:cubicBezTo>
                  <a:pt x="7877" y="6344"/>
                  <a:pt x="7848" y="6311"/>
                  <a:pt x="7816" y="6278"/>
                </a:cubicBezTo>
                <a:cubicBezTo>
                  <a:pt x="7783" y="6244"/>
                  <a:pt x="7750" y="6212"/>
                  <a:pt x="7717" y="6179"/>
                </a:cubicBezTo>
                <a:cubicBezTo>
                  <a:pt x="7684" y="6149"/>
                  <a:pt x="7645" y="6120"/>
                  <a:pt x="7613" y="6091"/>
                </a:cubicBezTo>
                <a:cubicBezTo>
                  <a:pt x="7575" y="6062"/>
                  <a:pt x="7535" y="6033"/>
                  <a:pt x="7499" y="6003"/>
                </a:cubicBezTo>
                <a:cubicBezTo>
                  <a:pt x="7459" y="5975"/>
                  <a:pt x="7419" y="5946"/>
                  <a:pt x="7377" y="5919"/>
                </a:cubicBezTo>
                <a:cubicBezTo>
                  <a:pt x="7339" y="5893"/>
                  <a:pt x="7298" y="5868"/>
                  <a:pt x="7260" y="5841"/>
                </a:cubicBezTo>
                <a:cubicBezTo>
                  <a:pt x="7218" y="5818"/>
                  <a:pt x="7174" y="5791"/>
                  <a:pt x="7131" y="5765"/>
                </a:cubicBezTo>
                <a:cubicBezTo>
                  <a:pt x="7090" y="5741"/>
                  <a:pt x="7047" y="5718"/>
                  <a:pt x="7005" y="5693"/>
                </a:cubicBezTo>
                <a:lnTo>
                  <a:pt x="7005" y="5693"/>
                </a:lnTo>
                <a:lnTo>
                  <a:pt x="6814" y="5587"/>
                </a:lnTo>
                <a:lnTo>
                  <a:pt x="6624" y="5493"/>
                </a:lnTo>
                <a:lnTo>
                  <a:pt x="6433" y="5400"/>
                </a:lnTo>
                <a:lnTo>
                  <a:pt x="6236" y="5313"/>
                </a:lnTo>
                <a:lnTo>
                  <a:pt x="6038" y="5229"/>
                </a:lnTo>
                <a:lnTo>
                  <a:pt x="5834" y="5147"/>
                </a:lnTo>
                <a:lnTo>
                  <a:pt x="5628" y="5070"/>
                </a:lnTo>
                <a:lnTo>
                  <a:pt x="5426" y="4992"/>
                </a:lnTo>
                <a:lnTo>
                  <a:pt x="5426" y="4992"/>
                </a:lnTo>
                <a:lnTo>
                  <a:pt x="4747" y="4760"/>
                </a:lnTo>
                <a:lnTo>
                  <a:pt x="4077" y="4528"/>
                </a:lnTo>
                <a:lnTo>
                  <a:pt x="2731" y="4070"/>
                </a:lnTo>
                <a:lnTo>
                  <a:pt x="2731" y="4070"/>
                </a:lnTo>
                <a:lnTo>
                  <a:pt x="2506" y="3993"/>
                </a:lnTo>
                <a:lnTo>
                  <a:pt x="2280" y="3908"/>
                </a:lnTo>
                <a:lnTo>
                  <a:pt x="2059" y="3821"/>
                </a:lnTo>
                <a:lnTo>
                  <a:pt x="1848" y="3728"/>
                </a:lnTo>
                <a:lnTo>
                  <a:pt x="1645" y="3623"/>
                </a:lnTo>
                <a:cubicBezTo>
                  <a:pt x="1579" y="3585"/>
                  <a:pt x="1512" y="3548"/>
                  <a:pt x="1447" y="3512"/>
                </a:cubicBezTo>
                <a:lnTo>
                  <a:pt x="1249" y="3395"/>
                </a:lnTo>
                <a:lnTo>
                  <a:pt x="1066" y="3269"/>
                </a:lnTo>
                <a:lnTo>
                  <a:pt x="1066" y="3269"/>
                </a:lnTo>
                <a:cubicBezTo>
                  <a:pt x="1019" y="3233"/>
                  <a:pt x="972" y="3195"/>
                  <a:pt x="924" y="3159"/>
                </a:cubicBezTo>
                <a:cubicBezTo>
                  <a:pt x="880" y="3120"/>
                  <a:pt x="835" y="3086"/>
                  <a:pt x="791" y="3048"/>
                </a:cubicBezTo>
                <a:cubicBezTo>
                  <a:pt x="748" y="3009"/>
                  <a:pt x="705" y="2972"/>
                  <a:pt x="664" y="2931"/>
                </a:cubicBezTo>
                <a:cubicBezTo>
                  <a:pt x="629" y="2894"/>
                  <a:pt x="594" y="2853"/>
                  <a:pt x="559" y="2816"/>
                </a:cubicBezTo>
                <a:cubicBezTo>
                  <a:pt x="521" y="2775"/>
                  <a:pt x="486" y="2736"/>
                  <a:pt x="451" y="2695"/>
                </a:cubicBezTo>
                <a:cubicBezTo>
                  <a:pt x="421" y="2652"/>
                  <a:pt x="391" y="2611"/>
                  <a:pt x="361" y="2568"/>
                </a:cubicBezTo>
                <a:cubicBezTo>
                  <a:pt x="334" y="2526"/>
                  <a:pt x="308" y="2482"/>
                  <a:pt x="282" y="2440"/>
                </a:cubicBezTo>
                <a:cubicBezTo>
                  <a:pt x="256" y="2398"/>
                  <a:pt x="231" y="2356"/>
                  <a:pt x="206" y="2313"/>
                </a:cubicBezTo>
                <a:cubicBezTo>
                  <a:pt x="188" y="2269"/>
                  <a:pt x="168" y="2225"/>
                  <a:pt x="150" y="2182"/>
                </a:cubicBezTo>
                <a:cubicBezTo>
                  <a:pt x="132" y="2134"/>
                  <a:pt x="117" y="2090"/>
                  <a:pt x="99" y="2042"/>
                </a:cubicBezTo>
                <a:cubicBezTo>
                  <a:pt x="84" y="1995"/>
                  <a:pt x="70" y="1946"/>
                  <a:pt x="56" y="1899"/>
                </a:cubicBezTo>
                <a:cubicBezTo>
                  <a:pt x="48" y="1852"/>
                  <a:pt x="36" y="1804"/>
                  <a:pt x="28" y="1756"/>
                </a:cubicBezTo>
                <a:cubicBezTo>
                  <a:pt x="21" y="1710"/>
                  <a:pt x="13" y="1660"/>
                  <a:pt x="8" y="1612"/>
                </a:cubicBezTo>
                <a:cubicBezTo>
                  <a:pt x="5" y="1562"/>
                  <a:pt x="3" y="1513"/>
                  <a:pt x="0" y="1462"/>
                </a:cubicBezTo>
                <a:lnTo>
                  <a:pt x="0" y="1308"/>
                </a:lnTo>
                <a:cubicBezTo>
                  <a:pt x="5" y="1258"/>
                  <a:pt x="9" y="1205"/>
                  <a:pt x="13" y="1154"/>
                </a:cubicBezTo>
                <a:lnTo>
                  <a:pt x="13" y="1154"/>
                </a:lnTo>
                <a:cubicBezTo>
                  <a:pt x="21" y="1106"/>
                  <a:pt x="28" y="1060"/>
                  <a:pt x="36" y="1012"/>
                </a:cubicBezTo>
                <a:cubicBezTo>
                  <a:pt x="45" y="964"/>
                  <a:pt x="55" y="914"/>
                  <a:pt x="64" y="868"/>
                </a:cubicBezTo>
                <a:cubicBezTo>
                  <a:pt x="77" y="819"/>
                  <a:pt x="93" y="771"/>
                  <a:pt x="107" y="723"/>
                </a:cubicBezTo>
                <a:cubicBezTo>
                  <a:pt x="122" y="677"/>
                  <a:pt x="135" y="632"/>
                  <a:pt x="150" y="585"/>
                </a:cubicBezTo>
                <a:cubicBezTo>
                  <a:pt x="168" y="540"/>
                  <a:pt x="187" y="493"/>
                  <a:pt x="206" y="448"/>
                </a:cubicBezTo>
                <a:cubicBezTo>
                  <a:pt x="226" y="400"/>
                  <a:pt x="248" y="356"/>
                  <a:pt x="269" y="308"/>
                </a:cubicBezTo>
                <a:cubicBezTo>
                  <a:pt x="290" y="264"/>
                  <a:pt x="309" y="220"/>
                  <a:pt x="333" y="177"/>
                </a:cubicBezTo>
                <a:cubicBezTo>
                  <a:pt x="361" y="133"/>
                  <a:pt x="389" y="88"/>
                  <a:pt x="417" y="44"/>
                </a:cubicBezTo>
                <a:lnTo>
                  <a:pt x="417" y="44"/>
                </a:lnTo>
                <a:cubicBezTo>
                  <a:pt x="421" y="29"/>
                  <a:pt x="426" y="14"/>
                  <a:pt x="432" y="0"/>
                </a:cubicBezTo>
                <a:lnTo>
                  <a:pt x="432" y="0"/>
                </a:lnTo>
                <a:close/>
              </a:path>
            </a:pathLst>
          </a:custGeom>
          <a:solidFill>
            <a:schemeClr val="accent1"/>
          </a:solidFill>
          <a:ln w="9525">
            <a:noFill/>
            <a:round/>
            <a:headEnd/>
            <a:tailEnd/>
          </a:ln>
        </p:spPr>
        <p:txBody>
          <a:bodyPr vert="horz" wrap="square" lIns="91424" tIns="45712" rIns="91424" bIns="45712" numCol="1" anchor="t" anchorCtr="0" compatLnSpc="1">
            <a:prstTxWarp prst="textNoShape">
              <a:avLst/>
            </a:prstTxWarp>
          </a:bodyPr>
          <a:lstStyle/>
          <a:p>
            <a:endParaRPr lang="en-GB" sz="1800"/>
          </a:p>
        </p:txBody>
      </p:sp>
      <p:sp>
        <p:nvSpPr>
          <p:cNvPr id="5"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6"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2642240989"/>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chemeClr val="accent5"/>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04952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38144202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iler Plat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Rectangle 13"/>
          <p:cNvSpPr/>
          <p:nvPr userDrawn="1"/>
        </p:nvSpPr>
        <p:spPr>
          <a:xfrm>
            <a:off x="4902138" y="711920"/>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332656"/>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7" y="2420888"/>
            <a:ext cx="233369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sp>
        <p:nvSpPr>
          <p:cNvPr id="24" name="Rectangle 23"/>
          <p:cNvSpPr/>
          <p:nvPr userDrawn="1"/>
        </p:nvSpPr>
        <p:spPr>
          <a:xfrm>
            <a:off x="4902139" y="5840970"/>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2"/>
          </p:cNvPr>
          <p:cNvSpPr/>
          <p:nvPr userDrawn="1"/>
        </p:nvSpPr>
        <p:spPr>
          <a:xfrm>
            <a:off x="5617426"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6" name="Rectangle 25">
            <a:hlinkClick r:id="rId3"/>
          </p:cNvPr>
          <p:cNvSpPr/>
          <p:nvPr userDrawn="1"/>
        </p:nvSpPr>
        <p:spPr>
          <a:xfrm>
            <a:off x="8048150" y="3812094"/>
            <a:ext cx="528637"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7" name="Rectangle 26">
            <a:hlinkClick r:id="rId4"/>
          </p:cNvPr>
          <p:cNvSpPr/>
          <p:nvPr userDrawn="1"/>
        </p:nvSpPr>
        <p:spPr>
          <a:xfrm>
            <a:off x="4899184" y="4445641"/>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2" name="Rectangle 21"/>
          <p:cNvSpPr/>
          <p:nvPr userDrawn="1"/>
        </p:nvSpPr>
        <p:spPr>
          <a:xfrm>
            <a:off x="4896036" y="3376215"/>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indent="0" algn="just" defTabSz="914217" rtl="0" eaLnBrk="1" fontAlgn="auto" latinLnBrk="0" hangingPunct="1">
              <a:lnSpc>
                <a:spcPts val="1200"/>
              </a:lnSpc>
              <a:spcBef>
                <a:spcPts val="0"/>
              </a:spcBef>
              <a:spcAft>
                <a:spcPts val="0"/>
              </a:spcAft>
              <a:buClrTx/>
              <a:buSzTx/>
              <a:buFontTx/>
              <a:buNone/>
              <a:tabLst/>
              <a:defRPr/>
            </a:pPr>
            <a:r>
              <a:rPr lang="fr-FR" sz="900" kern="1200" dirty="0" err="1">
                <a:solidFill>
                  <a:schemeClr val="tx1"/>
                </a:solidFill>
                <a:latin typeface="+mn-lt"/>
                <a:ea typeface="+mn-ea"/>
                <a:cs typeface="+mn-cs"/>
              </a:rPr>
              <a:t>Established</a:t>
            </a:r>
            <a:r>
              <a:rPr lang="fr-FR" sz="900" kern="1200" dirty="0">
                <a:solidFill>
                  <a:schemeClr val="tx1"/>
                </a:solidFill>
                <a:latin typeface="+mn-lt"/>
                <a:ea typeface="+mn-ea"/>
                <a:cs typeface="+mn-cs"/>
              </a:rPr>
              <a:t> in 1987, Capgemini University </a:t>
            </a:r>
            <a:r>
              <a:rPr lang="fr-FR" sz="900" kern="1200" dirty="0" err="1">
                <a:solidFill>
                  <a:schemeClr val="tx1"/>
                </a:solidFill>
                <a:latin typeface="+mn-lt"/>
                <a:ea typeface="+mn-ea"/>
                <a:cs typeface="+mn-cs"/>
              </a:rPr>
              <a:t>offers</a:t>
            </a:r>
            <a:r>
              <a:rPr lang="fr-FR" sz="900" kern="1200" dirty="0">
                <a:solidFill>
                  <a:schemeClr val="tx1"/>
                </a:solidFill>
                <a:latin typeface="+mn-lt"/>
                <a:ea typeface="+mn-ea"/>
                <a:cs typeface="+mn-cs"/>
              </a:rPr>
              <a:t> training to all of </a:t>
            </a:r>
            <a:r>
              <a:rPr lang="fr-FR" sz="900" kern="1200" dirty="0" err="1">
                <a:solidFill>
                  <a:schemeClr val="tx1"/>
                </a:solidFill>
                <a:latin typeface="+mn-lt"/>
                <a:ea typeface="+mn-ea"/>
                <a:cs typeface="+mn-cs"/>
              </a:rPr>
              <a:t>Capgemini’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worldwid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its</a:t>
            </a:r>
            <a:r>
              <a:rPr lang="fr-FR" sz="900" kern="1200" dirty="0">
                <a:solidFill>
                  <a:schemeClr val="tx1"/>
                </a:solidFill>
                <a:latin typeface="+mn-lt"/>
                <a:ea typeface="+mn-ea"/>
                <a:cs typeface="+mn-cs"/>
              </a:rPr>
              <a:t> international campus (</a:t>
            </a:r>
            <a:r>
              <a:rPr lang="fr-FR" sz="900" kern="1200" dirty="0" err="1">
                <a:solidFill>
                  <a:schemeClr val="tx1"/>
                </a:solidFill>
                <a:latin typeface="+mn-lt"/>
                <a:ea typeface="+mn-ea"/>
                <a:cs typeface="+mn-cs"/>
              </a:rPr>
              <a:t>located</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at</a:t>
            </a:r>
            <a:r>
              <a:rPr lang="fr-FR" sz="900" kern="1200" dirty="0">
                <a:solidFill>
                  <a:schemeClr val="tx1"/>
                </a:solidFill>
                <a:latin typeface="+mn-lt"/>
                <a:ea typeface="+mn-ea"/>
                <a:cs typeface="+mn-cs"/>
              </a:rPr>
              <a:t> Les Fontaines, </a:t>
            </a:r>
            <a:r>
              <a:rPr lang="fr-FR" sz="900" kern="1200" dirty="0" err="1">
                <a:solidFill>
                  <a:schemeClr val="tx1"/>
                </a:solidFill>
                <a:latin typeface="+mn-lt"/>
                <a:ea typeface="+mn-ea"/>
                <a:cs typeface="+mn-cs"/>
              </a:rPr>
              <a:t>near</a:t>
            </a:r>
            <a:r>
              <a:rPr lang="fr-FR" sz="900" kern="1200" dirty="0">
                <a:solidFill>
                  <a:schemeClr val="tx1"/>
                </a:solidFill>
                <a:latin typeface="+mn-lt"/>
                <a:ea typeface="+mn-ea"/>
                <a:cs typeface="+mn-cs"/>
              </a:rPr>
              <a:t> Paris) as </a:t>
            </a:r>
            <a:r>
              <a:rPr lang="fr-FR" sz="900" kern="1200" dirty="0" err="1">
                <a:solidFill>
                  <a:schemeClr val="tx1"/>
                </a:solidFill>
                <a:latin typeface="+mn-lt"/>
                <a:ea typeface="+mn-ea"/>
                <a:cs typeface="+mn-cs"/>
              </a:rPr>
              <a:t>well</a:t>
            </a:r>
            <a:r>
              <a:rPr lang="fr-FR" sz="900" kern="1200" dirty="0">
                <a:solidFill>
                  <a:schemeClr val="tx1"/>
                </a:solidFill>
                <a:latin typeface="+mn-lt"/>
                <a:ea typeface="+mn-ea"/>
                <a:cs typeface="+mn-cs"/>
              </a:rPr>
              <a:t> as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virtual</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lassrooms</a:t>
            </a:r>
            <a:r>
              <a:rPr lang="fr-FR" sz="900" kern="1200" dirty="0">
                <a:solidFill>
                  <a:schemeClr val="tx1"/>
                </a:solidFill>
                <a:latin typeface="+mn-lt"/>
                <a:ea typeface="+mn-ea"/>
                <a:cs typeface="+mn-cs"/>
              </a:rPr>
              <a:t> and e-</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programs. </a:t>
            </a:r>
            <a:r>
              <a:rPr lang="pl-PL" sz="900" kern="1200" dirty="0">
                <a:solidFill>
                  <a:schemeClr val="tx1"/>
                </a:solidFill>
                <a:latin typeface="+mn-lt"/>
                <a:ea typeface="+mn-ea"/>
                <a:cs typeface="+mn-cs"/>
              </a:rPr>
              <a:t>                                                                                                                                                                                                                        </a:t>
            </a:r>
            <a:r>
              <a:rPr lang="fr-FR" sz="900" kern="1200" dirty="0">
                <a:solidFill>
                  <a:schemeClr val="tx1"/>
                </a:solidFill>
                <a:latin typeface="+mn-lt"/>
                <a:ea typeface="+mn-ea"/>
                <a:cs typeface="+mn-cs"/>
              </a:rPr>
              <a:t>As a </a:t>
            </a:r>
            <a:r>
              <a:rPr lang="fr-FR" sz="900" kern="1200" dirty="0" err="1">
                <a:solidFill>
                  <a:schemeClr val="tx1"/>
                </a:solidFill>
                <a:latin typeface="+mn-lt"/>
                <a:ea typeface="+mn-ea"/>
                <a:cs typeface="+mn-cs"/>
              </a:rPr>
              <a:t>tool</a:t>
            </a:r>
            <a:r>
              <a:rPr lang="fr-FR" sz="900" kern="1200" dirty="0">
                <a:solidFill>
                  <a:schemeClr val="tx1"/>
                </a:solidFill>
                <a:latin typeface="+mn-lt"/>
                <a:ea typeface="+mn-ea"/>
                <a:cs typeface="+mn-cs"/>
              </a:rPr>
              <a:t> for the </a:t>
            </a:r>
            <a:r>
              <a:rPr lang="fr-FR" sz="900" kern="1200" dirty="0" err="1">
                <a:solidFill>
                  <a:schemeClr val="tx1"/>
                </a:solidFill>
                <a:latin typeface="+mn-lt"/>
                <a:ea typeface="+mn-ea"/>
                <a:cs typeface="+mn-cs"/>
              </a:rPr>
              <a:t>alignment</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acceleration</a:t>
            </a:r>
            <a:r>
              <a:rPr lang="fr-FR" sz="900" kern="1200" dirty="0">
                <a:solidFill>
                  <a:schemeClr val="tx1"/>
                </a:solidFill>
                <a:latin typeface="+mn-lt"/>
                <a:ea typeface="+mn-ea"/>
                <a:cs typeface="+mn-cs"/>
              </a:rPr>
              <a:t> of Capgemini and clients’ ambitions, the University </a:t>
            </a:r>
            <a:r>
              <a:rPr lang="fr-FR" sz="900" kern="1200" dirty="0" err="1">
                <a:solidFill>
                  <a:schemeClr val="tx1"/>
                </a:solidFill>
                <a:latin typeface="+mn-lt"/>
                <a:ea typeface="+mn-ea"/>
                <a:cs typeface="+mn-cs"/>
              </a:rPr>
              <a:t>plays</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key</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role</a:t>
            </a:r>
            <a:r>
              <a:rPr lang="fr-FR" sz="900" kern="1200" dirty="0">
                <a:solidFill>
                  <a:schemeClr val="tx1"/>
                </a:solidFill>
                <a:latin typeface="+mn-lt"/>
                <a:ea typeface="+mn-ea"/>
                <a:cs typeface="+mn-cs"/>
              </a:rPr>
              <a:t> in </a:t>
            </a:r>
            <a:r>
              <a:rPr lang="fr-FR" sz="900" kern="1200" dirty="0" err="1">
                <a:solidFill>
                  <a:schemeClr val="tx1"/>
                </a:solidFill>
                <a:latin typeface="+mn-lt"/>
                <a:ea typeface="+mn-ea"/>
                <a:cs typeface="+mn-cs"/>
              </a:rPr>
              <a:t>develop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skills</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capabilities</a:t>
            </a:r>
            <a:r>
              <a:rPr lang="fr-FR" sz="900" kern="1200" dirty="0">
                <a:solidFill>
                  <a:schemeClr val="tx1"/>
                </a:solidFill>
                <a:latin typeface="+mn-lt"/>
                <a:ea typeface="+mn-ea"/>
                <a:cs typeface="+mn-cs"/>
              </a:rPr>
              <a:t> by </a:t>
            </a:r>
            <a:r>
              <a:rPr lang="fr-FR" sz="900" kern="1200" dirty="0" err="1">
                <a:solidFill>
                  <a:schemeClr val="tx1"/>
                </a:solidFill>
                <a:latin typeface="+mn-lt"/>
                <a:ea typeface="+mn-ea"/>
                <a:cs typeface="+mn-cs"/>
              </a:rPr>
              <a:t>delivering</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learner</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entric</a:t>
            </a:r>
            <a:r>
              <a:rPr lang="fr-FR" sz="900" kern="1200" dirty="0">
                <a:solidFill>
                  <a:schemeClr val="tx1"/>
                </a:solidFill>
                <a:latin typeface="+mn-lt"/>
                <a:ea typeface="+mn-ea"/>
                <a:cs typeface="+mn-cs"/>
              </a:rPr>
              <a:t> end-to-end </a:t>
            </a:r>
            <a:r>
              <a:rPr lang="fr-FR" sz="900" kern="1200" dirty="0" err="1">
                <a:solidFill>
                  <a:schemeClr val="tx1"/>
                </a:solidFill>
                <a:latin typeface="+mn-lt"/>
                <a:ea typeface="+mn-ea"/>
                <a:cs typeface="+mn-cs"/>
              </a:rPr>
              <a:t>experienc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leveraging</a:t>
            </a:r>
            <a:r>
              <a:rPr lang="fr-FR" sz="900" kern="1200" dirty="0">
                <a:solidFill>
                  <a:schemeClr val="tx1"/>
                </a:solidFill>
                <a:latin typeface="+mn-lt"/>
                <a:ea typeface="+mn-ea"/>
                <a:cs typeface="+mn-cs"/>
              </a:rPr>
              <a:t> the </a:t>
            </a:r>
            <a:r>
              <a:rPr lang="fr-FR" sz="900" kern="1200" dirty="0" err="1">
                <a:solidFill>
                  <a:schemeClr val="tx1"/>
                </a:solidFill>
                <a:latin typeface="+mn-lt"/>
                <a:ea typeface="+mn-ea"/>
                <a:cs typeface="+mn-cs"/>
              </a:rPr>
              <a:t>principles</a:t>
            </a:r>
            <a:r>
              <a:rPr lang="fr-FR" sz="900" kern="1200" dirty="0">
                <a:solidFill>
                  <a:schemeClr val="tx1"/>
                </a:solidFill>
                <a:latin typeface="+mn-lt"/>
                <a:ea typeface="+mn-ea"/>
                <a:cs typeface="+mn-cs"/>
              </a:rPr>
              <a:t> of Digital Age Learning. Capgemini University </a:t>
            </a:r>
            <a:r>
              <a:rPr lang="fr-FR" sz="900" kern="1200" dirty="0" err="1">
                <a:solidFill>
                  <a:schemeClr val="tx1"/>
                </a:solidFill>
                <a:latin typeface="+mn-lt"/>
                <a:ea typeface="+mn-ea"/>
                <a:cs typeface="+mn-cs"/>
              </a:rPr>
              <a:t>was</a:t>
            </a:r>
            <a:r>
              <a:rPr lang="fr-FR" sz="900" kern="1200" dirty="0">
                <a:solidFill>
                  <a:schemeClr val="tx1"/>
                </a:solidFill>
                <a:latin typeface="+mn-lt"/>
                <a:ea typeface="+mn-ea"/>
                <a:cs typeface="+mn-cs"/>
              </a:rPr>
              <a:t> first </a:t>
            </a:r>
            <a:r>
              <a:rPr lang="fr-FR" sz="900" kern="1200" dirty="0" err="1">
                <a:solidFill>
                  <a:schemeClr val="tx1"/>
                </a:solidFill>
                <a:latin typeface="+mn-lt"/>
                <a:ea typeface="+mn-ea"/>
                <a:cs typeface="+mn-cs"/>
              </a:rPr>
              <a:t>accredited</a:t>
            </a:r>
            <a:r>
              <a:rPr lang="fr-FR" sz="900" kern="1200" dirty="0">
                <a:solidFill>
                  <a:schemeClr val="tx1"/>
                </a:solidFill>
                <a:latin typeface="+mn-lt"/>
                <a:ea typeface="+mn-ea"/>
                <a:cs typeface="+mn-cs"/>
              </a:rPr>
              <a:t> by the </a:t>
            </a:r>
            <a:r>
              <a:rPr lang="fr-FR" sz="900" kern="1200" dirty="0" err="1">
                <a:solidFill>
                  <a:schemeClr val="tx1"/>
                </a:solidFill>
                <a:latin typeface="+mn-lt"/>
                <a:ea typeface="+mn-ea"/>
                <a:cs typeface="+mn-cs"/>
              </a:rPr>
              <a:t>European</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Foundation</a:t>
            </a:r>
            <a:r>
              <a:rPr lang="fr-FR" sz="900" kern="1200" dirty="0">
                <a:solidFill>
                  <a:schemeClr val="tx1"/>
                </a:solidFill>
                <a:latin typeface="+mn-lt"/>
                <a:ea typeface="+mn-ea"/>
                <a:cs typeface="+mn-cs"/>
              </a:rPr>
              <a:t> for Management </a:t>
            </a:r>
            <a:r>
              <a:rPr lang="fr-FR" sz="900" kern="1200" dirty="0" err="1">
                <a:solidFill>
                  <a:schemeClr val="tx1"/>
                </a:solidFill>
                <a:latin typeface="+mn-lt"/>
                <a:ea typeface="+mn-ea"/>
                <a:cs typeface="+mn-cs"/>
              </a:rPr>
              <a:t>Development</a:t>
            </a:r>
            <a:r>
              <a:rPr lang="fr-FR" sz="900" kern="1200" dirty="0">
                <a:solidFill>
                  <a:schemeClr val="tx1"/>
                </a:solidFill>
                <a:latin typeface="+mn-lt"/>
                <a:ea typeface="+mn-ea"/>
                <a:cs typeface="+mn-cs"/>
              </a:rPr>
              <a:t> (EFMD) in 2009, and </a:t>
            </a:r>
            <a:r>
              <a:rPr lang="fr-FR" sz="900" kern="1200" dirty="0" err="1">
                <a:solidFill>
                  <a:schemeClr val="tx1"/>
                </a:solidFill>
                <a:latin typeface="+mn-lt"/>
                <a:ea typeface="+mn-ea"/>
                <a:cs typeface="+mn-cs"/>
              </a:rPr>
              <a:t>reaccredited</a:t>
            </a:r>
            <a:r>
              <a:rPr lang="fr-FR" sz="900" kern="1200" dirty="0">
                <a:solidFill>
                  <a:schemeClr val="tx1"/>
                </a:solidFill>
                <a:latin typeface="+mn-lt"/>
                <a:ea typeface="+mn-ea"/>
                <a:cs typeface="+mn-cs"/>
              </a:rPr>
              <a:t> in 2014. In 2016 the University </a:t>
            </a:r>
            <a:r>
              <a:rPr lang="fr-FR" sz="900" kern="1200" dirty="0" err="1">
                <a:solidFill>
                  <a:schemeClr val="tx1"/>
                </a:solidFill>
                <a:latin typeface="+mn-lt"/>
                <a:ea typeface="+mn-ea"/>
                <a:cs typeface="+mn-cs"/>
              </a:rPr>
              <a:t>delivered</a:t>
            </a:r>
            <a:r>
              <a:rPr lang="fr-FR" sz="900" kern="1200" dirty="0">
                <a:solidFill>
                  <a:schemeClr val="tx1"/>
                </a:solidFill>
                <a:latin typeface="+mn-lt"/>
                <a:ea typeface="+mn-ea"/>
                <a:cs typeface="+mn-cs"/>
              </a:rPr>
              <a:t> over 4.1 million </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hours</a:t>
            </a:r>
            <a:r>
              <a:rPr lang="fr-FR" sz="900" kern="1200" dirty="0">
                <a:solidFill>
                  <a:schemeClr val="tx1"/>
                </a:solidFill>
                <a:latin typeface="+mn-lt"/>
                <a:ea typeface="+mn-ea"/>
                <a:cs typeface="+mn-cs"/>
              </a:rPr>
              <a:t> to over 182,000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endParaRPr lang="en-US" sz="900" kern="1200" dirty="0">
              <a:solidFill>
                <a:schemeClr val="tx1"/>
              </a:solidFill>
              <a:latin typeface="+mn-lt"/>
              <a:ea typeface="+mn-ea"/>
              <a:cs typeface="+mn-cs"/>
            </a:endParaRPr>
          </a:p>
          <a:p>
            <a:pPr algn="just">
              <a:lnSpc>
                <a:spcPts val="1200"/>
              </a:lnSpc>
            </a:pPr>
            <a:endParaRPr lang="en-US" sz="900" kern="1200" dirty="0">
              <a:solidFill>
                <a:schemeClr val="tx1"/>
              </a:solidFill>
              <a:latin typeface="+mn-lt"/>
              <a:ea typeface="+mn-ea"/>
              <a:cs typeface="+mn-cs"/>
            </a:endParaRPr>
          </a:p>
        </p:txBody>
      </p:sp>
      <p:sp>
        <p:nvSpPr>
          <p:cNvPr id="28" name="Rectangle 27"/>
          <p:cNvSpPr/>
          <p:nvPr userDrawn="1"/>
        </p:nvSpPr>
        <p:spPr>
          <a:xfrm>
            <a:off x="4896036" y="2996952"/>
            <a:ext cx="2843766"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a:t>
            </a:r>
            <a:r>
              <a:rPr lang="en-US" sz="1400" kern="1200" dirty="0">
                <a:solidFill>
                  <a:schemeClr val="accent1"/>
                </a:solidFill>
                <a:latin typeface="+mn-lt"/>
                <a:ea typeface="+mn-ea"/>
                <a:cs typeface="+mn-cs"/>
              </a:rPr>
              <a:t>Capgemini</a:t>
            </a:r>
            <a:r>
              <a:rPr lang="pl-PL" sz="1400" kern="1200" dirty="0">
                <a:solidFill>
                  <a:schemeClr val="accent1"/>
                </a:solidFill>
                <a:latin typeface="+mn-lt"/>
                <a:ea typeface="+mn-ea"/>
                <a:cs typeface="+mn-cs"/>
              </a:rPr>
              <a:t> </a:t>
            </a:r>
            <a:r>
              <a:rPr lang="en-US" sz="1400" kern="1200" dirty="0">
                <a:solidFill>
                  <a:schemeClr val="accent1"/>
                </a:solidFill>
                <a:latin typeface="+mn-lt"/>
                <a:ea typeface="+mn-ea"/>
                <a:cs typeface="+mn-cs"/>
              </a:rPr>
              <a:t>University</a:t>
            </a:r>
          </a:p>
        </p:txBody>
      </p:sp>
      <p:sp>
        <p:nvSpPr>
          <p:cNvPr id="30" name="Rectangle 29"/>
          <p:cNvSpPr/>
          <p:nvPr userDrawn="1"/>
        </p:nvSpPr>
        <p:spPr>
          <a:xfrm>
            <a:off x="4896036" y="5157744"/>
            <a:ext cx="437448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marL="0" indent="0" algn="l"/>
            <a:r>
              <a:rPr lang="en-US" sz="1200" kern="1200" dirty="0">
                <a:solidFill>
                  <a:schemeClr val="accent2"/>
                </a:solidFill>
                <a:latin typeface="+mn-lt"/>
                <a:ea typeface="+mn-ea"/>
                <a:cs typeface="+mn-cs"/>
              </a:rPr>
              <a:t>www.capgemini.com/careers/your-career-path/capgemini-university</a:t>
            </a:r>
          </a:p>
        </p:txBody>
      </p:sp>
      <p:sp>
        <p:nvSpPr>
          <p:cNvPr id="31" name="Freeform 5"/>
          <p:cNvSpPr>
            <a:spLocks/>
          </p:cNvSpPr>
          <p:nvPr userDrawn="1"/>
        </p:nvSpPr>
        <p:spPr bwMode="auto">
          <a:xfrm>
            <a:off x="-20765" y="-146"/>
            <a:ext cx="5812265" cy="6858037"/>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802 w 10000"/>
              <a:gd name="connsiteY0" fmla="*/ 2322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2541 w 11739"/>
              <a:gd name="connsiteY0" fmla="*/ 528 h 8206"/>
              <a:gd name="connsiteX1" fmla="*/ 0 w 11739"/>
              <a:gd name="connsiteY1" fmla="*/ 0 h 8206"/>
              <a:gd name="connsiteX2" fmla="*/ 1739 w 11739"/>
              <a:gd name="connsiteY2" fmla="*/ 8206 h 8206"/>
              <a:gd name="connsiteX3" fmla="*/ 11739 w 11739"/>
              <a:gd name="connsiteY3" fmla="*/ 8206 h 8206"/>
              <a:gd name="connsiteX4" fmla="*/ 11739 w 11739"/>
              <a:gd name="connsiteY4" fmla="*/ 8195 h 8206"/>
              <a:gd name="connsiteX5" fmla="*/ 2264 w 11739"/>
              <a:gd name="connsiteY5" fmla="*/ 8195 h 8206"/>
              <a:gd name="connsiteX6" fmla="*/ 7891 w 11739"/>
              <a:gd name="connsiteY6" fmla="*/ 2641 h 8206"/>
              <a:gd name="connsiteX7" fmla="*/ 4681 w 11739"/>
              <a:gd name="connsiteY7" fmla="*/ 528 h 8206"/>
              <a:gd name="connsiteX0" fmla="*/ 684 w 8519"/>
              <a:gd name="connsiteY0" fmla="*/ 0 h 9357"/>
              <a:gd name="connsiteX1" fmla="*/ 0 w 8519"/>
              <a:gd name="connsiteY1" fmla="*/ 9357 h 9357"/>
              <a:gd name="connsiteX2" fmla="*/ 8519 w 8519"/>
              <a:gd name="connsiteY2" fmla="*/ 9357 h 9357"/>
              <a:gd name="connsiteX3" fmla="*/ 8519 w 8519"/>
              <a:gd name="connsiteY3" fmla="*/ 9344 h 9357"/>
              <a:gd name="connsiteX4" fmla="*/ 448 w 8519"/>
              <a:gd name="connsiteY4" fmla="*/ 9344 h 9357"/>
              <a:gd name="connsiteX5" fmla="*/ 5241 w 8519"/>
              <a:gd name="connsiteY5" fmla="*/ 2575 h 9357"/>
              <a:gd name="connsiteX6" fmla="*/ 2507 w 8519"/>
              <a:gd name="connsiteY6" fmla="*/ 0 h 9357"/>
              <a:gd name="connsiteX0" fmla="*/ 803 w 11710"/>
              <a:gd name="connsiteY0" fmla="*/ 0 h 10000"/>
              <a:gd name="connsiteX1" fmla="*/ 0 w 11710"/>
              <a:gd name="connsiteY1" fmla="*/ 10000 h 10000"/>
              <a:gd name="connsiteX2" fmla="*/ 10000 w 11710"/>
              <a:gd name="connsiteY2" fmla="*/ 10000 h 10000"/>
              <a:gd name="connsiteX3" fmla="*/ 10000 w 11710"/>
              <a:gd name="connsiteY3" fmla="*/ 9986 h 10000"/>
              <a:gd name="connsiteX4" fmla="*/ 4748 w 11710"/>
              <a:gd name="connsiteY4" fmla="*/ 7805 h 10000"/>
              <a:gd name="connsiteX5" fmla="*/ 6152 w 11710"/>
              <a:gd name="connsiteY5" fmla="*/ 2752 h 10000"/>
              <a:gd name="connsiteX6" fmla="*/ 2943 w 11710"/>
              <a:gd name="connsiteY6" fmla="*/ 0 h 10000"/>
              <a:gd name="connsiteX0" fmla="*/ 803 w 11710"/>
              <a:gd name="connsiteY0" fmla="*/ 0 h 10000"/>
              <a:gd name="connsiteX1" fmla="*/ 0 w 11710"/>
              <a:gd name="connsiteY1" fmla="*/ 10000 h 10000"/>
              <a:gd name="connsiteX2" fmla="*/ 10000 w 11710"/>
              <a:gd name="connsiteY2" fmla="*/ 10000 h 10000"/>
              <a:gd name="connsiteX3" fmla="*/ 4748 w 11710"/>
              <a:gd name="connsiteY3" fmla="*/ 7805 h 10000"/>
              <a:gd name="connsiteX4" fmla="*/ 6152 w 11710"/>
              <a:gd name="connsiteY4" fmla="*/ 2752 h 10000"/>
              <a:gd name="connsiteX5" fmla="*/ 2943 w 11710"/>
              <a:gd name="connsiteY5" fmla="*/ 0 h 10000"/>
              <a:gd name="connsiteX0" fmla="*/ 803 w 11710"/>
              <a:gd name="connsiteY0" fmla="*/ 0 h 10000"/>
              <a:gd name="connsiteX1" fmla="*/ 0 w 11710"/>
              <a:gd name="connsiteY1" fmla="*/ 10000 h 10000"/>
              <a:gd name="connsiteX2" fmla="*/ 4748 w 11710"/>
              <a:gd name="connsiteY2" fmla="*/ 7805 h 10000"/>
              <a:gd name="connsiteX3" fmla="*/ 6152 w 11710"/>
              <a:gd name="connsiteY3" fmla="*/ 2752 h 10000"/>
              <a:gd name="connsiteX4" fmla="*/ 2943 w 11710"/>
              <a:gd name="connsiteY4" fmla="*/ 0 h 10000"/>
              <a:gd name="connsiteX0" fmla="*/ 268 w 11175"/>
              <a:gd name="connsiteY0" fmla="*/ 0 h 7805"/>
              <a:gd name="connsiteX1" fmla="*/ 1605 w 11175"/>
              <a:gd name="connsiteY1" fmla="*/ 7181 h 7805"/>
              <a:gd name="connsiteX2" fmla="*/ 4213 w 11175"/>
              <a:gd name="connsiteY2" fmla="*/ 7805 h 7805"/>
              <a:gd name="connsiteX3" fmla="*/ 5617 w 11175"/>
              <a:gd name="connsiteY3" fmla="*/ 2752 h 7805"/>
              <a:gd name="connsiteX4" fmla="*/ 2408 w 11175"/>
              <a:gd name="connsiteY4" fmla="*/ 0 h 7805"/>
              <a:gd name="connsiteX0" fmla="*/ 240 w 10000"/>
              <a:gd name="connsiteY0" fmla="*/ 0 h 10000"/>
              <a:gd name="connsiteX1" fmla="*/ 1646 w 10000"/>
              <a:gd name="connsiteY1" fmla="*/ 10000 h 10000"/>
              <a:gd name="connsiteX2" fmla="*/ 3770 w 10000"/>
              <a:gd name="connsiteY2" fmla="*/ 10000 h 10000"/>
              <a:gd name="connsiteX3" fmla="*/ 5026 w 10000"/>
              <a:gd name="connsiteY3" fmla="*/ 3526 h 10000"/>
              <a:gd name="connsiteX4" fmla="*/ 2155 w 10000"/>
              <a:gd name="connsiteY4" fmla="*/ 0 h 10000"/>
              <a:gd name="connsiteX0" fmla="*/ 240 w 8385"/>
              <a:gd name="connsiteY0" fmla="*/ 0 h 10000"/>
              <a:gd name="connsiteX1" fmla="*/ 31 w 8385"/>
              <a:gd name="connsiteY1" fmla="*/ 10000 h 10000"/>
              <a:gd name="connsiteX2" fmla="*/ 2155 w 8385"/>
              <a:gd name="connsiteY2" fmla="*/ 10000 h 10000"/>
              <a:gd name="connsiteX3" fmla="*/ 3411 w 8385"/>
              <a:gd name="connsiteY3" fmla="*/ 3526 h 10000"/>
              <a:gd name="connsiteX4" fmla="*/ 540 w 8385"/>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1 w 9984"/>
              <a:gd name="connsiteY0" fmla="*/ 0 h 10000"/>
              <a:gd name="connsiteX1" fmla="*/ 21 w 9984"/>
              <a:gd name="connsiteY1" fmla="*/ 10000 h 10000"/>
              <a:gd name="connsiteX2" fmla="*/ 2554 w 9984"/>
              <a:gd name="connsiteY2" fmla="*/ 10000 h 10000"/>
              <a:gd name="connsiteX3" fmla="*/ 4052 w 9984"/>
              <a:gd name="connsiteY3" fmla="*/ 3526 h 10000"/>
              <a:gd name="connsiteX4" fmla="*/ 628 w 9984"/>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6080"/>
              <a:gd name="connsiteY0" fmla="*/ 0 h 10000"/>
              <a:gd name="connsiteX1" fmla="*/ 21 w 6080"/>
              <a:gd name="connsiteY1" fmla="*/ 10000 h 10000"/>
              <a:gd name="connsiteX2" fmla="*/ 2558 w 6080"/>
              <a:gd name="connsiteY2" fmla="*/ 10000 h 10000"/>
              <a:gd name="connsiteX3" fmla="*/ 4058 w 6080"/>
              <a:gd name="connsiteY3" fmla="*/ 3526 h 10000"/>
              <a:gd name="connsiteX4" fmla="*/ 629 w 6080"/>
              <a:gd name="connsiteY4" fmla="*/ 0 h 10000"/>
              <a:gd name="connsiteX0" fmla="*/ 35 w 9132"/>
              <a:gd name="connsiteY0" fmla="*/ 0 h 10000"/>
              <a:gd name="connsiteX1" fmla="*/ 35 w 9132"/>
              <a:gd name="connsiteY1" fmla="*/ 10000 h 10000"/>
              <a:gd name="connsiteX2" fmla="*/ 4207 w 9132"/>
              <a:gd name="connsiteY2" fmla="*/ 10000 h 10000"/>
              <a:gd name="connsiteX3" fmla="*/ 6674 w 9132"/>
              <a:gd name="connsiteY3" fmla="*/ 3526 h 10000"/>
              <a:gd name="connsiteX4" fmla="*/ 1035 w 9132"/>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3" h="10000">
                <a:moveTo>
                  <a:pt x="38" y="0"/>
                </a:moveTo>
                <a:cubicBezTo>
                  <a:pt x="43" y="3692"/>
                  <a:pt x="0" y="6047"/>
                  <a:pt x="38" y="10000"/>
                </a:cubicBezTo>
                <a:lnTo>
                  <a:pt x="4607" y="10000"/>
                </a:lnTo>
                <a:cubicBezTo>
                  <a:pt x="10393" y="6454"/>
                  <a:pt x="8322" y="4154"/>
                  <a:pt x="7308" y="3526"/>
                </a:cubicBezTo>
                <a:cubicBezTo>
                  <a:pt x="8251" y="5527"/>
                  <a:pt x="3442" y="4589"/>
                  <a:pt x="1133" y="0"/>
                </a:cubicBezTo>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4" tIns="45712" rIns="91424" bIns="45712" numCol="1" anchor="t" anchorCtr="0" compatLnSpc="1">
            <a:prstTxWarp prst="textNoShape">
              <a:avLst/>
            </a:prstTxWarp>
          </a:bodyPr>
          <a:lstStyle/>
          <a:p>
            <a:endParaRPr lang="en-US" sz="1800" dirty="0"/>
          </a:p>
        </p:txBody>
      </p:sp>
      <p:grpSp>
        <p:nvGrpSpPr>
          <p:cNvPr id="32" name="Group 31"/>
          <p:cNvGrpSpPr/>
          <p:nvPr userDrawn="1"/>
        </p:nvGrpSpPr>
        <p:grpSpPr>
          <a:xfrm>
            <a:off x="3665413" y="2404111"/>
            <a:ext cx="734885" cy="682321"/>
            <a:chOff x="5662614" y="3032124"/>
            <a:chExt cx="863600" cy="801689"/>
          </a:xfrm>
        </p:grpSpPr>
        <p:sp>
          <p:nvSpPr>
            <p:cNvPr id="33" name="Freeform 32"/>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4" name="Freeform 33"/>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pic>
        <p:nvPicPr>
          <p:cNvPr id="35" name="Picture 2" descr="D:\My Work\Template\Icons\Social Media\LinkedIN.png">
            <a:hlinkClick r:id="rId5"/>
          </p:cNvPr>
          <p:cNvPicPr>
            <a:picLocks noChangeAspect="1" noChangeArrowheads="1"/>
          </p:cNvPicPr>
          <p:nvPr userDrawn="1"/>
        </p:nvPicPr>
        <p:blipFill>
          <a:blip r:embed="rId6" cstate="print"/>
          <a:srcRect/>
          <a:stretch>
            <a:fillRect/>
          </a:stretch>
        </p:blipFill>
        <p:spPr bwMode="auto">
          <a:xfrm>
            <a:off x="758237" y="3979258"/>
            <a:ext cx="333137" cy="333195"/>
          </a:xfrm>
          <a:prstGeom prst="rect">
            <a:avLst/>
          </a:prstGeom>
          <a:noFill/>
        </p:spPr>
      </p:pic>
      <p:pic>
        <p:nvPicPr>
          <p:cNvPr id="36" name="Picture 4" descr="D:\My Work\Template\Icons\Social Media\SlideShare.png">
            <a:hlinkClick r:id="rId7"/>
          </p:cNvPr>
          <p:cNvPicPr>
            <a:picLocks noChangeAspect="1" noChangeArrowheads="1"/>
          </p:cNvPicPr>
          <p:nvPr userDrawn="1"/>
        </p:nvPicPr>
        <p:blipFill>
          <a:blip r:embed="rId8" cstate="print"/>
          <a:srcRect/>
          <a:stretch>
            <a:fillRect/>
          </a:stretch>
        </p:blipFill>
        <p:spPr bwMode="auto">
          <a:xfrm>
            <a:off x="1141547" y="3979258"/>
            <a:ext cx="333137" cy="333195"/>
          </a:xfrm>
          <a:prstGeom prst="rect">
            <a:avLst/>
          </a:prstGeom>
          <a:noFill/>
        </p:spPr>
      </p:pic>
      <p:pic>
        <p:nvPicPr>
          <p:cNvPr id="37" name="Picture 5" descr="D:\My Work\Template\Icons\Social Media\Twitter.png">
            <a:hlinkClick r:id="rId9"/>
          </p:cNvPr>
          <p:cNvPicPr>
            <a:picLocks noChangeAspect="1" noChangeArrowheads="1"/>
          </p:cNvPicPr>
          <p:nvPr userDrawn="1"/>
        </p:nvPicPr>
        <p:blipFill>
          <a:blip r:embed="rId10" cstate="print"/>
          <a:srcRect/>
          <a:stretch>
            <a:fillRect/>
          </a:stretch>
        </p:blipFill>
        <p:spPr bwMode="auto">
          <a:xfrm>
            <a:off x="1524858" y="3979258"/>
            <a:ext cx="333137" cy="333195"/>
          </a:xfrm>
          <a:prstGeom prst="rect">
            <a:avLst/>
          </a:prstGeom>
          <a:noFill/>
        </p:spPr>
      </p:pic>
      <p:pic>
        <p:nvPicPr>
          <p:cNvPr id="38" name="Picture 6" descr="D:\My Work\Template\Icons\Social Media\YouTube.png">
            <a:hlinkClick r:id="rId11"/>
          </p:cNvPr>
          <p:cNvPicPr>
            <a:picLocks noChangeAspect="1" noChangeArrowheads="1"/>
          </p:cNvPicPr>
          <p:nvPr userDrawn="1"/>
        </p:nvPicPr>
        <p:blipFill>
          <a:blip r:embed="rId12" cstate="print"/>
          <a:srcRect/>
          <a:stretch>
            <a:fillRect/>
          </a:stretch>
        </p:blipFill>
        <p:spPr bwMode="auto">
          <a:xfrm>
            <a:off x="1908167" y="3979258"/>
            <a:ext cx="333137" cy="333195"/>
          </a:xfrm>
          <a:prstGeom prst="rect">
            <a:avLst/>
          </a:prstGeom>
          <a:noFill/>
        </p:spPr>
      </p:pic>
      <p:pic>
        <p:nvPicPr>
          <p:cNvPr id="39" name="Picture 7" descr="D:\My Work\Template\Icons\Social Media\Facebook.png">
            <a:hlinkClick r:id="rId13"/>
          </p:cNvPr>
          <p:cNvPicPr>
            <a:picLocks noChangeAspect="1" noChangeArrowheads="1"/>
          </p:cNvPicPr>
          <p:nvPr userDrawn="1"/>
        </p:nvPicPr>
        <p:blipFill>
          <a:blip r:embed="rId14" cstate="print"/>
          <a:srcRect/>
          <a:stretch>
            <a:fillRect/>
          </a:stretch>
        </p:blipFill>
        <p:spPr bwMode="auto">
          <a:xfrm>
            <a:off x="374926" y="3979258"/>
            <a:ext cx="333137" cy="333195"/>
          </a:xfrm>
          <a:prstGeom prst="rect">
            <a:avLst/>
          </a:prstGeom>
          <a:noFill/>
        </p:spPr>
      </p:pic>
      <p:sp>
        <p:nvSpPr>
          <p:cNvPr id="40" name="Rectangle 39"/>
          <p:cNvSpPr/>
          <p:nvPr userDrawn="1"/>
        </p:nvSpPr>
        <p:spPr>
          <a:xfrm>
            <a:off x="374926" y="5640914"/>
            <a:ext cx="4197891"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a:t>
            </a:r>
            <a:br>
              <a:rPr lang="pl-PL" sz="800" noProof="0" dirty="0">
                <a:solidFill>
                  <a:schemeClr val="bg1"/>
                </a:solidFill>
                <a:latin typeface="+mn-lt"/>
                <a:cs typeface="Arial"/>
              </a:rPr>
            </a:br>
            <a:r>
              <a:rPr lang="en-US" sz="800" noProof="0" dirty="0">
                <a:solidFill>
                  <a:schemeClr val="bg1"/>
                </a:solidFill>
                <a:latin typeface="+mn-lt"/>
                <a:cs typeface="Arial"/>
              </a:rPr>
              <a:t>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8 Capgemini. All rights reserved.</a:t>
            </a:r>
          </a:p>
          <a:p>
            <a:pPr marL="0" marR="0" indent="0" defTabSz="957564"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pic>
        <p:nvPicPr>
          <p:cNvPr id="41" name="Picture 40"/>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67461" y="4434172"/>
            <a:ext cx="2559875" cy="201012"/>
          </a:xfrm>
          <a:prstGeom prst="rect">
            <a:avLst/>
          </a:prstGeom>
        </p:spPr>
      </p:pic>
    </p:spTree>
    <p:extLst>
      <p:ext uri="{BB962C8B-B14F-4D97-AF65-F5344CB8AC3E}">
        <p14:creationId xmlns:p14="http://schemas.microsoft.com/office/powerpoint/2010/main" val="15945252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normAutofit/>
          </a:bodyPr>
          <a:lstStyle>
            <a:lvl1pPr marL="0" indent="0" algn="l">
              <a:buNone/>
              <a:defRPr sz="18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4009345034"/>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8779470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25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2914175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87806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lang="en-US" sz="1800" b="0" kern="1200" dirty="0" smtClean="0">
                <a:solidFill>
                  <a:srgbClr val="000000"/>
                </a:solidFill>
                <a:latin typeface="+mn-lt"/>
                <a:ea typeface="+mn-ea"/>
                <a:cs typeface="+mn-cs"/>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6540854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04814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694444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4">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8"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sp>
        <p:nvSpPr>
          <p:cNvPr id="14" name="Freeform 11"/>
          <p:cNvSpPr>
            <a:spLocks/>
          </p:cNvSpPr>
          <p:nvPr/>
        </p:nvSpPr>
        <p:spPr bwMode="auto">
          <a:xfrm rot="16200000" flipH="1">
            <a:off x="3939171" y="1136801"/>
            <a:ext cx="6354035" cy="4080440"/>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6432"/>
              <a:gd name="connsiteX1" fmla="*/ 6522 w 11365"/>
              <a:gd name="connsiteY1" fmla="*/ 0 h 6432"/>
              <a:gd name="connsiteX2" fmla="*/ 0 w 11365"/>
              <a:gd name="connsiteY2" fmla="*/ 1621 h 6432"/>
              <a:gd name="connsiteX3" fmla="*/ 0 w 11365"/>
              <a:gd name="connsiteY3" fmla="*/ 4781 h 6432"/>
              <a:gd name="connsiteX4" fmla="*/ 8230 w 11365"/>
              <a:gd name="connsiteY4" fmla="*/ 6432 h 6432"/>
              <a:gd name="connsiteX0" fmla="*/ 7242 w 10000"/>
              <a:gd name="connsiteY0" fmla="*/ 10000 h 10000"/>
              <a:gd name="connsiteX1" fmla="*/ 5739 w 10000"/>
              <a:gd name="connsiteY1" fmla="*/ 0 h 10000"/>
              <a:gd name="connsiteX2" fmla="*/ 0 w 10000"/>
              <a:gd name="connsiteY2" fmla="*/ 2520 h 10000"/>
              <a:gd name="connsiteX3" fmla="*/ 0 w 10000"/>
              <a:gd name="connsiteY3" fmla="*/ 10000 h 10000"/>
              <a:gd name="connsiteX4" fmla="*/ 7242 w 10000"/>
              <a:gd name="connsiteY4" fmla="*/ 10000 h 10000"/>
              <a:gd name="connsiteX0" fmla="*/ 7242 w 10000"/>
              <a:gd name="connsiteY0" fmla="*/ 10000 h 10030"/>
              <a:gd name="connsiteX1" fmla="*/ 5739 w 10000"/>
              <a:gd name="connsiteY1" fmla="*/ 0 h 10030"/>
              <a:gd name="connsiteX2" fmla="*/ 0 w 10000"/>
              <a:gd name="connsiteY2" fmla="*/ 2520 h 10030"/>
              <a:gd name="connsiteX3" fmla="*/ 0 w 10000"/>
              <a:gd name="connsiteY3" fmla="*/ 10000 h 10030"/>
              <a:gd name="connsiteX4" fmla="*/ 7242 w 10000"/>
              <a:gd name="connsiteY4" fmla="*/ 10000 h 10030"/>
              <a:gd name="connsiteX0" fmla="*/ 7241 w 9999"/>
              <a:gd name="connsiteY0" fmla="*/ 10000 h 10030"/>
              <a:gd name="connsiteX1" fmla="*/ 5739 w 9999"/>
              <a:gd name="connsiteY1" fmla="*/ 0 h 10030"/>
              <a:gd name="connsiteX2" fmla="*/ 0 w 9999"/>
              <a:gd name="connsiteY2" fmla="*/ 2520 h 10030"/>
              <a:gd name="connsiteX3" fmla="*/ 0 w 9999"/>
              <a:gd name="connsiteY3" fmla="*/ 10000 h 10030"/>
              <a:gd name="connsiteX4" fmla="*/ 7241 w 9999"/>
              <a:gd name="connsiteY4" fmla="*/ 10000 h 10030"/>
              <a:gd name="connsiteX0" fmla="*/ 7242 w 8800"/>
              <a:gd name="connsiteY0" fmla="*/ 9970 h 10000"/>
              <a:gd name="connsiteX1" fmla="*/ 5740 w 8800"/>
              <a:gd name="connsiteY1" fmla="*/ 0 h 10000"/>
              <a:gd name="connsiteX2" fmla="*/ 0 w 8800"/>
              <a:gd name="connsiteY2" fmla="*/ 2512 h 10000"/>
              <a:gd name="connsiteX3" fmla="*/ 0 w 8800"/>
              <a:gd name="connsiteY3" fmla="*/ 9970 h 10000"/>
              <a:gd name="connsiteX4" fmla="*/ 7242 w 88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557"/>
              <a:gd name="connsiteX1" fmla="*/ 6523 w 10000"/>
              <a:gd name="connsiteY1" fmla="*/ 0 h 10557"/>
              <a:gd name="connsiteX2" fmla="*/ 0 w 10000"/>
              <a:gd name="connsiteY2" fmla="*/ 2512 h 10557"/>
              <a:gd name="connsiteX3" fmla="*/ 0 w 10000"/>
              <a:gd name="connsiteY3" fmla="*/ 9970 h 10557"/>
              <a:gd name="connsiteX4" fmla="*/ 8230 w 10000"/>
              <a:gd name="connsiteY4" fmla="*/ 9970 h 10557"/>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230" y="9970"/>
                </a:moveTo>
                <a:cubicBezTo>
                  <a:pt x="8903" y="7585"/>
                  <a:pt x="10000" y="3274"/>
                  <a:pt x="6523" y="0"/>
                </a:cubicBezTo>
                <a:cubicBezTo>
                  <a:pt x="2736" y="3208"/>
                  <a:pt x="901" y="3230"/>
                  <a:pt x="0" y="2512"/>
                </a:cubicBezTo>
                <a:lnTo>
                  <a:pt x="0" y="9970"/>
                </a:lnTo>
                <a:cubicBezTo>
                  <a:pt x="2726" y="10000"/>
                  <a:pt x="5748" y="9983"/>
                  <a:pt x="8230" y="9970"/>
                </a:cubicBezTo>
                <a:close/>
              </a:path>
            </a:pathLst>
          </a:custGeom>
          <a:solidFill>
            <a:schemeClr val="accent5"/>
          </a:solidFill>
          <a:ln>
            <a:noFill/>
          </a:ln>
        </p:spPr>
        <p:txBody>
          <a:bodyPr vert="horz" wrap="square" lIns="91424" tIns="45712" rIns="91424" bIns="45712"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2948512827"/>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5">
    <p:bg>
      <p:bgPr>
        <a:solidFill>
          <a:schemeClr val="bg1"/>
        </a:solidFill>
        <a:effectLst/>
      </p:bgPr>
    </p:bg>
    <p:spTree>
      <p:nvGrpSpPr>
        <p:cNvPr id="1" name=""/>
        <p:cNvGrpSpPr/>
        <p:nvPr/>
      </p:nvGrpSpPr>
      <p:grpSpPr>
        <a:xfrm>
          <a:off x="0" y="0"/>
          <a:ext cx="0" cy="0"/>
          <a:chOff x="0" y="0"/>
          <a:chExt cx="0" cy="0"/>
        </a:xfrm>
      </p:grpSpPr>
      <p:pic>
        <p:nvPicPr>
          <p:cNvPr id="15" name="Picture 14" descr="Cover_small_1600px2.jpg"/>
          <p:cNvPicPr>
            <a:picLocks noChangeAspect="1"/>
          </p:cNvPicPr>
          <p:nvPr/>
        </p:nvPicPr>
        <p:blipFill>
          <a:blip r:embed="rId2" cstate="print"/>
          <a:stretch>
            <a:fillRect/>
          </a:stretch>
        </p:blipFill>
        <p:spPr>
          <a:xfrm>
            <a:off x="794" y="0"/>
            <a:ext cx="9142412" cy="6858000"/>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p:nvPr>
        </p:nvSpPr>
        <p:spPr>
          <a:xfrm>
            <a:off x="305991" y="1700808"/>
            <a:ext cx="4625987" cy="869950"/>
          </a:xfrm>
        </p:spPr>
        <p:txBody>
          <a:bodyPr lIns="0" tIns="0" rIns="0" bIns="0" anchor="b">
            <a:normAutofit/>
          </a:bodyPr>
          <a:lstStyle>
            <a:lvl1pPr>
              <a:lnSpc>
                <a:spcPts val="2999"/>
              </a:lnSpc>
              <a:defRPr sz="2599" baseline="0">
                <a:solidFill>
                  <a:schemeClr val="accent1"/>
                </a:solidFill>
              </a:defRPr>
            </a:lvl1pPr>
            <a:lvl2pPr>
              <a:defRPr sz="2400">
                <a:solidFill>
                  <a:schemeClr val="bg1"/>
                </a:solidFill>
              </a:defRPr>
            </a:lvl2pPr>
          </a:lstStyle>
          <a:p>
            <a:pPr lvl="0"/>
            <a:r>
              <a:rPr lang="en-US"/>
              <a:t>Edit Master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2685770"/>
            <a:ext cx="4625987"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3" cstate="print">
            <a:extLst>
              <a:ext uri="{96DAC541-7B7A-43D3-8B79-37D633B846F1}">
                <asvg:svgBlip xmlns:asvg="http://schemas.microsoft.com/office/drawing/2016/SVG/main" r:embed="rId4"/>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3379568820"/>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6">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a16="http://schemas.microsoft.com/office/drawing/2014/main" id="{02DEF159-660E-4893-A63C-7C2BB5EEB9A1}"/>
              </a:ext>
            </a:extLst>
          </p:cNvPr>
          <p:cNvPicPr>
            <a:picLocks noChangeAspect="1"/>
          </p:cNvPicPr>
          <p:nvPr/>
        </p:nvPicPr>
        <p:blipFill rotWithShape="1">
          <a:blip r:embed="rId2" cstate="print">
            <a:extLst>
              <a:ext uri="{96DAC541-7B7A-43D3-8B79-37D633B846F1}">
                <asvg:svgBlip xmlns:asvg="http://schemas.microsoft.com/office/drawing/2016/SVG/main" r:embed="rId3"/>
              </a:ext>
            </a:extLst>
          </a:blip>
          <a:srcRect l="10370" t="18343" b="19135"/>
          <a:stretch/>
        </p:blipFill>
        <p:spPr>
          <a:xfrm flipH="1">
            <a:off x="1548189" y="-3448"/>
            <a:ext cx="7595811"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212023" y="286731"/>
            <a:ext cx="4481997" cy="1182207"/>
          </a:xfrm>
          <a:prstGeom prst="rect">
            <a:avLst/>
          </a:prstGeom>
        </p:spPr>
        <p:txBody>
          <a:bodyPr anchor="b">
            <a:normAutofit/>
          </a:bodyPr>
          <a:lstStyle>
            <a:lvl1pPr marL="0" indent="0" algn="l">
              <a:lnSpc>
                <a:spcPts val="2999"/>
              </a:lnSpc>
              <a:buNone/>
              <a:defRPr sz="2599">
                <a:solidFill>
                  <a:schemeClr val="accent2"/>
                </a:solidFill>
              </a:defRPr>
            </a:lvl1pPr>
            <a:lvl2pPr marL="457109" indent="0">
              <a:buNone/>
              <a:defRPr sz="5999">
                <a:solidFill>
                  <a:schemeClr val="bg1"/>
                </a:solidFill>
              </a:defRPr>
            </a:lvl2pPr>
          </a:lstStyle>
          <a:p>
            <a:pPr lvl="0"/>
            <a:r>
              <a:rPr lang="en-US" dirty="0"/>
              <a:t>Click to insert section title</a:t>
            </a:r>
            <a:endParaRPr lang="pt-PT" dirty="0"/>
          </a:p>
        </p:txBody>
      </p:sp>
      <p:pic>
        <p:nvPicPr>
          <p:cNvPr id="12" name="Graphic 9">
            <a:extLst>
              <a:ext uri="{FF2B5EF4-FFF2-40B4-BE49-F238E27FC236}">
                <a16:creationId xmlns:a16="http://schemas.microsoft.com/office/drawing/2014/main" id="{C3D2EC56-D17C-4A75-8178-C69397BC7353}"/>
              </a:ext>
            </a:extLst>
          </p:cNvPr>
          <p:cNvPicPr>
            <a:picLocks noChangeAspect="1"/>
          </p:cNvPicPr>
          <p:nvPr/>
        </p:nvPicPr>
        <p:blipFill>
          <a:blip r:embed="rId4" cstate="print">
            <a:extLst>
              <a:ext uri="{96DAC541-7B7A-43D3-8B79-37D633B846F1}">
                <asvg:svgBlip xmlns:asvg="http://schemas.microsoft.com/office/drawing/2016/SVG/main" r:embed="rId5"/>
              </a:ext>
            </a:extLst>
          </a:blip>
          <a:stretch>
            <a:fillRect/>
          </a:stretch>
        </p:blipFill>
        <p:spPr>
          <a:xfrm>
            <a:off x="407917" y="6101473"/>
            <a:ext cx="2285603" cy="510013"/>
          </a:xfrm>
          <a:prstGeom prst="rect">
            <a:avLst/>
          </a:prstGeom>
        </p:spPr>
      </p:pic>
      <p:sp>
        <p:nvSpPr>
          <p:cNvPr id="8" name="Subtitle 2"/>
          <p:cNvSpPr>
            <a:spLocks noGrp="1"/>
          </p:cNvSpPr>
          <p:nvPr>
            <p:ph type="subTitle" idx="1" hasCustomPrompt="1"/>
          </p:nvPr>
        </p:nvSpPr>
        <p:spPr>
          <a:xfrm>
            <a:off x="4212024" y="1628800"/>
            <a:ext cx="4535716"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217"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007002041"/>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702552067"/>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899224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9266736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110417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13.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2.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image" Target="../media/image13.png"/><Relationship Id="rId5" Type="http://schemas.openxmlformats.org/officeDocument/2006/relationships/theme" Target="../theme/theme3.xml"/><Relationship Id="rId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10" Type="http://schemas.openxmlformats.org/officeDocument/2006/relationships/image" Target="../media/image13.png"/><Relationship Id="rId4" Type="http://schemas.openxmlformats.org/officeDocument/2006/relationships/slideLayout" Target="../slideLayouts/slideLayout25.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Tree>
    <p:extLst>
      <p:ext uri="{BB962C8B-B14F-4D97-AF65-F5344CB8AC3E}">
        <p14:creationId xmlns:p14="http://schemas.microsoft.com/office/powerpoint/2010/main" val="3486279910"/>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Lst>
  <p:hf sldNum="0" hdr="0" dt="0"/>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663" indent="-228554"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2771" indent="-228554"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599880" indent="-228554"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6989" indent="-228554"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
        <p:nvSpPr>
          <p:cNvPr id="7"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8"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pic>
        <p:nvPicPr>
          <p:cNvPr id="9" name="Picture 8" descr="SPADE.png"/>
          <p:cNvPicPr>
            <a:picLocks noChangeAspect="1"/>
          </p:cNvPicPr>
          <p:nvPr/>
        </p:nvPicPr>
        <p:blipFill>
          <a:blip r:embed="rId7" cstate="print"/>
          <a:stretch>
            <a:fillRect/>
          </a:stretch>
        </p:blipFill>
        <p:spPr>
          <a:xfrm>
            <a:off x="8465783" y="203647"/>
            <a:ext cx="420168" cy="420241"/>
          </a:xfrm>
          <a:prstGeom prst="rect">
            <a:avLst/>
          </a:prstGeom>
        </p:spPr>
      </p:pic>
    </p:spTree>
    <p:extLst>
      <p:ext uri="{BB962C8B-B14F-4D97-AF65-F5344CB8AC3E}">
        <p14:creationId xmlns:p14="http://schemas.microsoft.com/office/powerpoint/2010/main" val="3863509739"/>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Lst>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66647" indent="-180939"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47585" indent="-180939"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28524" indent="-180939"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09463" indent="-180939"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0" y="1412877"/>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3"/>
            <a:endParaRPr lang="en-US" dirty="0"/>
          </a:p>
        </p:txBody>
      </p:sp>
      <p:pic>
        <p:nvPicPr>
          <p:cNvPr id="12" name="Picture 11" descr="SPADE.png"/>
          <p:cNvPicPr>
            <a:picLocks noChangeAspect="1"/>
          </p:cNvPicPr>
          <p:nvPr/>
        </p:nvPicPr>
        <p:blipFill>
          <a:blip r:embed="rId6" cstate="print"/>
          <a:stretch>
            <a:fillRect/>
          </a:stretch>
        </p:blipFill>
        <p:spPr>
          <a:xfrm>
            <a:off x="8465783" y="203647"/>
            <a:ext cx="420168" cy="420241"/>
          </a:xfrm>
          <a:prstGeom prst="rect">
            <a:avLst/>
          </a:prstGeom>
        </p:spPr>
      </p:pic>
      <p:sp>
        <p:nvSpPr>
          <p:cNvPr id="10"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11"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669253545"/>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8554"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0" y="1412877"/>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0"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312649"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pic>
        <p:nvPicPr>
          <p:cNvPr id="31" name="Picture 30" descr="SPADE.png"/>
          <p:cNvPicPr>
            <a:picLocks noChangeAspect="1"/>
          </p:cNvPicPr>
          <p:nvPr/>
        </p:nvPicPr>
        <p:blipFill>
          <a:blip r:embed="rId10" cstate="print"/>
          <a:stretch>
            <a:fillRect/>
          </a:stretch>
        </p:blipFill>
        <p:spPr>
          <a:xfrm>
            <a:off x="8465783" y="203647"/>
            <a:ext cx="420168" cy="420241"/>
          </a:xfrm>
          <a:prstGeom prst="rect">
            <a:avLst/>
          </a:prstGeom>
        </p:spPr>
      </p:pic>
      <p:sp>
        <p:nvSpPr>
          <p:cNvPr id="33"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4"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612080732"/>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3793"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notesSlide" Target="../notesSlides/notesSlide18.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9.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1.xml"/><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0"/>
          </p:nvPr>
        </p:nvSpPr>
        <p:spPr/>
        <p:txBody>
          <a:bodyPr>
            <a:normAutofit/>
          </a:bodyPr>
          <a:lstStyle/>
          <a:p>
            <a:r>
              <a:rPr lang="en-US" sz="2000" dirty="0">
                <a:solidFill>
                  <a:schemeClr val="tx1"/>
                </a:solidFill>
              </a:rPr>
              <a:t>Lesson 09: Business Add-Ins </a:t>
            </a:r>
          </a:p>
        </p:txBody>
      </p:sp>
      <p:sp>
        <p:nvSpPr>
          <p:cNvPr id="11" name="Title 10"/>
          <p:cNvSpPr>
            <a:spLocks noGrp="1"/>
          </p:cNvSpPr>
          <p:nvPr>
            <p:ph type="ctrTitle" idx="4294967295"/>
          </p:nvPr>
        </p:nvSpPr>
        <p:spPr>
          <a:xfrm>
            <a:off x="0" y="2960688"/>
            <a:ext cx="5035550" cy="1096962"/>
          </a:xfrm>
        </p:spPr>
        <p:txBody>
          <a:bodyPr>
            <a:normAutofit/>
          </a:bodyPr>
          <a:lstStyle/>
          <a:p>
            <a:r>
              <a:rPr lang="en-US" sz="3600" dirty="0"/>
              <a:t>ABAP </a:t>
            </a:r>
            <a:r>
              <a:rPr lang="en-US" sz="3600"/>
              <a:t>Part II</a:t>
            </a:r>
            <a:endParaRPr lang="en-US" sz="360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BAdI</a:t>
            </a:r>
            <a:r>
              <a:rPr lang="en-US" dirty="0"/>
              <a:t> Definition: Interface Methods </a:t>
            </a:r>
          </a:p>
        </p:txBody>
      </p:sp>
      <p:sp>
        <p:nvSpPr>
          <p:cNvPr id="3" name="Content Placeholder 2"/>
          <p:cNvSpPr>
            <a:spLocks noGrp="1"/>
          </p:cNvSpPr>
          <p:nvPr>
            <p:ph idx="1"/>
          </p:nvPr>
        </p:nvSpPr>
        <p:spPr/>
        <p:txBody>
          <a:bodyPr/>
          <a:lstStyle/>
          <a:p>
            <a:r>
              <a:rPr lang="en-US" dirty="0"/>
              <a:t>1.The system proposes a name for the interface and the generated class. </a:t>
            </a:r>
          </a:p>
          <a:p>
            <a:r>
              <a:rPr lang="en-US" dirty="0"/>
              <a:t>2.The name of the generated class is composed as follows: </a:t>
            </a:r>
          </a:p>
          <a:p>
            <a:pPr lvl="1"/>
            <a:r>
              <a:rPr lang="en-US" dirty="0"/>
              <a:t>Namespace prefix </a:t>
            </a:r>
          </a:p>
          <a:p>
            <a:pPr lvl="1"/>
            <a:r>
              <a:rPr lang="en-US" dirty="0"/>
              <a:t>CL_ (to signify a class in general) </a:t>
            </a:r>
          </a:p>
          <a:p>
            <a:pPr lvl="1"/>
            <a:r>
              <a:rPr lang="en-US" dirty="0"/>
              <a:t>EX_ (stands for "exit") </a:t>
            </a:r>
          </a:p>
          <a:p>
            <a:r>
              <a:rPr lang="en-US" dirty="0"/>
              <a:t>Name of Business Add-In </a:t>
            </a:r>
          </a:p>
          <a:p>
            <a:r>
              <a:rPr lang="en-US" dirty="0"/>
              <a:t>3.A </a:t>
            </a:r>
            <a:r>
              <a:rPr lang="en-US" dirty="0" err="1"/>
              <a:t>BAdI</a:t>
            </a:r>
            <a:r>
              <a:rPr lang="en-US" dirty="0"/>
              <a:t> interface can have several interface methods. </a:t>
            </a:r>
          </a:p>
          <a:p>
            <a:endParaRPr lang="en-US" dirty="0"/>
          </a:p>
        </p:txBody>
      </p:sp>
    </p:spTree>
    <p:extLst>
      <p:ext uri="{BB962C8B-B14F-4D97-AF65-F5344CB8AC3E}">
        <p14:creationId xmlns:p14="http://schemas.microsoft.com/office/powerpoint/2010/main" val="25148650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BAdI</a:t>
            </a:r>
            <a:r>
              <a:rPr lang="en-US" dirty="0"/>
              <a:t> Definition: Interface Methods Parameters </a:t>
            </a:r>
          </a:p>
        </p:txBody>
      </p:sp>
      <p:sp>
        <p:nvSpPr>
          <p:cNvPr id="3" name="Content Placeholder 2"/>
          <p:cNvSpPr>
            <a:spLocks noGrp="1"/>
          </p:cNvSpPr>
          <p:nvPr>
            <p:ph idx="1"/>
          </p:nvPr>
        </p:nvSpPr>
        <p:spPr/>
        <p:txBody>
          <a:bodyPr/>
          <a:lstStyle/>
          <a:p>
            <a:r>
              <a:rPr lang="en-US" dirty="0"/>
              <a:t>You can use all of the normal functions of the Class Builder. For example, you can: </a:t>
            </a:r>
          </a:p>
          <a:p>
            <a:pPr lvl="1"/>
            <a:r>
              <a:rPr lang="en-US" dirty="0"/>
              <a:t>Define interface methods </a:t>
            </a:r>
          </a:p>
          <a:p>
            <a:pPr lvl="1"/>
            <a:r>
              <a:rPr lang="en-US" dirty="0"/>
              <a:t>Define interface parameters for the methods </a:t>
            </a:r>
          </a:p>
          <a:p>
            <a:pPr lvl="1"/>
            <a:r>
              <a:rPr lang="en-US" dirty="0"/>
              <a:t>Declare the attributes of the interface </a:t>
            </a:r>
          </a:p>
          <a:p>
            <a:r>
              <a:rPr lang="en-US" dirty="0"/>
              <a:t>If the business add-in is filter-dependent, you must define an import parameter </a:t>
            </a:r>
            <a:r>
              <a:rPr lang="en-US" dirty="0" err="1"/>
              <a:t>flt_val</a:t>
            </a:r>
            <a:r>
              <a:rPr lang="en-US" dirty="0"/>
              <a:t> for each method. Otherwise, you define the interface parameters you need for the enhancement. </a:t>
            </a:r>
          </a:p>
          <a:p>
            <a:endParaRPr lang="en-US" dirty="0"/>
          </a:p>
        </p:txBody>
      </p:sp>
    </p:spTree>
    <p:extLst>
      <p:ext uri="{BB962C8B-B14F-4D97-AF65-F5344CB8AC3E}">
        <p14:creationId xmlns:p14="http://schemas.microsoft.com/office/powerpoint/2010/main" val="14036277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BAdI</a:t>
            </a:r>
            <a:r>
              <a:rPr lang="en-US" dirty="0"/>
              <a:t> Definition: Activating the Interface </a:t>
            </a:r>
          </a:p>
        </p:txBody>
      </p:sp>
      <p:sp>
        <p:nvSpPr>
          <p:cNvPr id="3" name="Content Placeholder 2"/>
          <p:cNvSpPr>
            <a:spLocks noGrp="1"/>
          </p:cNvSpPr>
          <p:nvPr>
            <p:ph idx="1"/>
          </p:nvPr>
        </p:nvSpPr>
        <p:spPr/>
        <p:txBody>
          <a:bodyPr/>
          <a:lstStyle/>
          <a:p>
            <a:r>
              <a:rPr lang="en-US" dirty="0"/>
              <a:t>Once you have finished working on your interface, you must activate it. This generates the adapter class for the Business Add-In. </a:t>
            </a:r>
          </a:p>
          <a:p>
            <a:r>
              <a:rPr lang="en-US" dirty="0"/>
              <a:t>If you change the interface, the adapter class is automatically regenerated. </a:t>
            </a:r>
          </a:p>
          <a:p>
            <a:endParaRPr lang="en-US" dirty="0"/>
          </a:p>
        </p:txBody>
      </p:sp>
    </p:spTree>
    <p:extLst>
      <p:ext uri="{BB962C8B-B14F-4D97-AF65-F5344CB8AC3E}">
        <p14:creationId xmlns:p14="http://schemas.microsoft.com/office/powerpoint/2010/main" val="40331978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Create a customized </a:t>
            </a:r>
            <a:r>
              <a:rPr lang="en-US" altLang="en-US" dirty="0" err="1"/>
              <a:t>BAdI</a:t>
            </a:r>
            <a:endParaRPr lang="en-US" altLang="en-US" dirty="0"/>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42396930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hancement Spot</a:t>
            </a:r>
          </a:p>
        </p:txBody>
      </p:sp>
      <p:sp>
        <p:nvSpPr>
          <p:cNvPr id="3" name="Content Placeholder 2"/>
          <p:cNvSpPr>
            <a:spLocks noGrp="1"/>
          </p:cNvSpPr>
          <p:nvPr>
            <p:ph idx="1"/>
          </p:nvPr>
        </p:nvSpPr>
        <p:spPr/>
        <p:txBody>
          <a:bodyPr/>
          <a:lstStyle/>
          <a:p>
            <a:r>
              <a:rPr lang="en-US" dirty="0"/>
              <a:t>BADI definitions were directly defined in SE18, but from ECC 6.0, SAP has introduced the concept of Enhancement Spots</a:t>
            </a:r>
          </a:p>
          <a:p>
            <a:r>
              <a:rPr lang="en-US" dirty="0"/>
              <a:t>An enhancement spot is an object, which can contain one or more </a:t>
            </a:r>
            <a:r>
              <a:rPr lang="en-US" dirty="0" err="1"/>
              <a:t>BAdI</a:t>
            </a:r>
            <a:r>
              <a:rPr lang="en-US" dirty="0"/>
              <a:t> definitions</a:t>
            </a:r>
          </a:p>
          <a:p>
            <a:endParaRPr lang="en-US" dirty="0"/>
          </a:p>
        </p:txBody>
      </p:sp>
      <p:sp>
        <p:nvSpPr>
          <p:cNvPr id="4" name="Footer Placeholder 3"/>
          <p:cNvSpPr>
            <a:spLocks noGrp="1"/>
          </p:cNvSpPr>
          <p:nvPr>
            <p:ph type="ftr" sz="quarter" idx="4294967295"/>
          </p:nvPr>
        </p:nvSpPr>
        <p:spPr>
          <a:xfrm>
            <a:off x="3124200" y="6356350"/>
            <a:ext cx="2895600" cy="365125"/>
          </a:xfrm>
          <a:prstGeom prst="rect">
            <a:avLst/>
          </a:prstGeom>
        </p:spPr>
        <p:txBody>
          <a:bodyPr/>
          <a:lstStyle/>
          <a:p>
            <a:endParaRPr lang="en-US"/>
          </a:p>
        </p:txBody>
      </p:sp>
    </p:spTree>
    <p:extLst>
      <p:ext uri="{BB962C8B-B14F-4D97-AF65-F5344CB8AC3E}">
        <p14:creationId xmlns:p14="http://schemas.microsoft.com/office/powerpoint/2010/main" val="37255204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Create an Enhancement spot</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18037921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br>
              <a:rPr lang="en-US" dirty="0"/>
            </a:br>
            <a:r>
              <a:rPr lang="en-US" dirty="0"/>
              <a:t>Menu Enhancements</a:t>
            </a:r>
            <a:br>
              <a:rPr lang="en-US" dirty="0"/>
            </a:br>
            <a:endParaRPr lang="en-US" dirty="0"/>
          </a:p>
        </p:txBody>
      </p:sp>
      <p:sp>
        <p:nvSpPr>
          <p:cNvPr id="3" name="Content Placeholder 2"/>
          <p:cNvSpPr>
            <a:spLocks noGrp="1"/>
          </p:cNvSpPr>
          <p:nvPr>
            <p:ph idx="1"/>
          </p:nvPr>
        </p:nvSpPr>
        <p:spPr/>
        <p:txBody>
          <a:bodyPr/>
          <a:lstStyle/>
          <a:p>
            <a:r>
              <a:rPr lang="en-US" dirty="0"/>
              <a:t>Menu Enhancements are renamed as Function Code Enhancements</a:t>
            </a:r>
          </a:p>
          <a:p>
            <a:r>
              <a:rPr lang="en-US" dirty="0"/>
              <a:t>The Function Code should start with a ‘+’</a:t>
            </a:r>
          </a:p>
          <a:p>
            <a:r>
              <a:rPr lang="en-US" dirty="0"/>
              <a:t>Function Code Enhancements can only be used for single-use add-ins</a:t>
            </a:r>
          </a:p>
          <a:p>
            <a:r>
              <a:rPr lang="en-US" dirty="0"/>
              <a:t>Should not be filter-dependent</a:t>
            </a:r>
          </a:p>
          <a:p>
            <a:r>
              <a:rPr lang="en-US" dirty="0"/>
              <a:t>Have to be created in conjunction with Program Enhancements (Interfaces)</a:t>
            </a:r>
          </a:p>
          <a:p>
            <a:endParaRPr lang="en-US" dirty="0"/>
          </a:p>
        </p:txBody>
      </p:sp>
    </p:spTree>
    <p:extLst>
      <p:ext uri="{BB962C8B-B14F-4D97-AF65-F5344CB8AC3E}">
        <p14:creationId xmlns:p14="http://schemas.microsoft.com/office/powerpoint/2010/main" val="36007172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br>
              <a:rPr lang="en-US" dirty="0"/>
            </a:br>
            <a:r>
              <a:rPr lang="en-US" dirty="0"/>
              <a:t>Function Code Enhancements</a:t>
            </a:r>
            <a:br>
              <a:rPr lang="en-US" dirty="0"/>
            </a:br>
            <a:endParaRPr lang="en-US" dirty="0"/>
          </a:p>
        </p:txBody>
      </p:sp>
      <p:sp>
        <p:nvSpPr>
          <p:cNvPr id="3" name="Content Placeholder 2"/>
          <p:cNvSpPr>
            <a:spLocks noGrp="1"/>
          </p:cNvSpPr>
          <p:nvPr>
            <p:ph idx="1"/>
          </p:nvPr>
        </p:nvSpPr>
        <p:spPr/>
        <p:txBody>
          <a:bodyPr/>
          <a:lstStyle/>
          <a:p>
            <a:r>
              <a:rPr lang="en-US" dirty="0"/>
              <a:t>Right-click on the BADI definition to Create a Menu Enhancement</a:t>
            </a:r>
          </a:p>
          <a:p>
            <a:r>
              <a:rPr lang="en-US" dirty="0"/>
              <a:t>Select  ‘Add Menu Enhancement’</a:t>
            </a:r>
          </a:p>
          <a:p>
            <a:r>
              <a:rPr lang="en-US" dirty="0"/>
              <a:t>Provide the Program Name, Function Code and the description</a:t>
            </a:r>
          </a:p>
          <a:p>
            <a:r>
              <a:rPr lang="en-US" dirty="0"/>
              <a:t>Create the Implementation for the Function Code Enhancement in SE19</a:t>
            </a:r>
          </a:p>
          <a:p>
            <a:r>
              <a:rPr lang="en-US" dirty="0"/>
              <a:t>Provide the Function text, Icon text, etc.</a:t>
            </a:r>
          </a:p>
          <a:p>
            <a:r>
              <a:rPr lang="en-US" dirty="0"/>
              <a:t>Develop the processing logic in the interface exit of the BADI</a:t>
            </a:r>
          </a:p>
          <a:p>
            <a:endParaRPr lang="en-US" dirty="0"/>
          </a:p>
          <a:p>
            <a:endParaRPr lang="en-US" dirty="0"/>
          </a:p>
          <a:p>
            <a:endParaRPr lang="en-US" dirty="0"/>
          </a:p>
        </p:txBody>
      </p:sp>
    </p:spTree>
    <p:extLst>
      <p:ext uri="{BB962C8B-B14F-4D97-AF65-F5344CB8AC3E}">
        <p14:creationId xmlns:p14="http://schemas.microsoft.com/office/powerpoint/2010/main" val="7463625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reen Enhancement</a:t>
            </a:r>
          </a:p>
        </p:txBody>
      </p:sp>
      <p:pic>
        <p:nvPicPr>
          <p:cNvPr id="4" name="Picture 4" descr="This graphic is explained in the accompanying text"/>
          <p:cNvPicPr>
            <a:picLocks noGrp="1" noChangeAspect="1" noChangeArrowheads="1"/>
          </p:cNvPicPr>
          <p:nvPr>
            <p:ph idx="1"/>
          </p:nvPr>
        </p:nvPicPr>
        <p:blipFill>
          <a:blip r:embed="rId3" cstate="print"/>
          <a:srcRect/>
          <a:stretch>
            <a:fillRect/>
          </a:stretch>
        </p:blipFill>
        <p:spPr bwMode="auto">
          <a:xfrm>
            <a:off x="1051552" y="1371766"/>
            <a:ext cx="4638675" cy="3933825"/>
          </a:xfrm>
          <a:prstGeom prst="rect">
            <a:avLst/>
          </a:prstGeom>
          <a:noFill/>
        </p:spPr>
      </p:pic>
    </p:spTree>
    <p:extLst>
      <p:ext uri="{BB962C8B-B14F-4D97-AF65-F5344CB8AC3E}">
        <p14:creationId xmlns:p14="http://schemas.microsoft.com/office/powerpoint/2010/main" val="39694282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br>
              <a:rPr lang="en-US" dirty="0"/>
            </a:br>
            <a:r>
              <a:rPr lang="en-US" dirty="0"/>
              <a:t>Defining Screen Enhancements</a:t>
            </a:r>
            <a:br>
              <a:rPr lang="en-US" dirty="0"/>
            </a:br>
            <a:endParaRPr lang="en-US" dirty="0"/>
          </a:p>
        </p:txBody>
      </p:sp>
      <p:sp>
        <p:nvSpPr>
          <p:cNvPr id="3" name="Content Placeholder 2"/>
          <p:cNvSpPr>
            <a:spLocks noGrp="1"/>
          </p:cNvSpPr>
          <p:nvPr>
            <p:ph idx="1"/>
          </p:nvPr>
        </p:nvSpPr>
        <p:spPr/>
        <p:txBody>
          <a:bodyPr/>
          <a:lstStyle/>
          <a:p>
            <a:r>
              <a:rPr lang="en-US" dirty="0"/>
              <a:t>Create the following methods</a:t>
            </a:r>
          </a:p>
          <a:p>
            <a:endParaRPr lang="en-US" dirty="0"/>
          </a:p>
        </p:txBody>
      </p:sp>
      <p:pic>
        <p:nvPicPr>
          <p:cNvPr id="4" name="Picture 2" descr="This graphic is explained in the accompanying text"/>
          <p:cNvPicPr>
            <a:picLocks noChangeAspect="1" noChangeArrowheads="1"/>
          </p:cNvPicPr>
          <p:nvPr/>
        </p:nvPicPr>
        <p:blipFill>
          <a:blip r:embed="rId3" cstate="print"/>
          <a:srcRect/>
          <a:stretch>
            <a:fillRect/>
          </a:stretch>
        </p:blipFill>
        <p:spPr bwMode="auto">
          <a:xfrm>
            <a:off x="552893" y="1974112"/>
            <a:ext cx="6917267" cy="3276600"/>
          </a:xfrm>
          <a:prstGeom prst="rect">
            <a:avLst/>
          </a:prstGeom>
          <a:noFill/>
          <a:ln>
            <a:solidFill>
              <a:schemeClr val="tx1"/>
            </a:solidFill>
          </a:ln>
        </p:spPr>
      </p:pic>
    </p:spTree>
    <p:extLst>
      <p:ext uri="{BB962C8B-B14F-4D97-AF65-F5344CB8AC3E}">
        <p14:creationId xmlns:p14="http://schemas.microsoft.com/office/powerpoint/2010/main" val="40543577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esson Objectives</a:t>
            </a:r>
            <a:endParaRPr lang="en-US" sz="2400" dirty="0"/>
          </a:p>
        </p:txBody>
      </p:sp>
      <p:sp>
        <p:nvSpPr>
          <p:cNvPr id="2" name="Content Placeholder 1"/>
          <p:cNvSpPr>
            <a:spLocks noGrp="1"/>
          </p:cNvSpPr>
          <p:nvPr>
            <p:ph sz="quarter" idx="10"/>
          </p:nvPr>
        </p:nvSpPr>
        <p:spPr/>
        <p:txBody>
          <a:bodyPr/>
          <a:lstStyle/>
          <a:p>
            <a:r>
              <a:rPr lang="en-US" dirty="0"/>
              <a:t>After completing this lesson, participants will be able to -</a:t>
            </a:r>
          </a:p>
          <a:p>
            <a:pPr lvl="1"/>
            <a:r>
              <a:rPr lang="en-US" dirty="0"/>
              <a:t>Explain why SAP introduced classic </a:t>
            </a:r>
            <a:r>
              <a:rPr lang="en-US" dirty="0" err="1"/>
              <a:t>BAdI's</a:t>
            </a:r>
            <a:r>
              <a:rPr lang="en-US" dirty="0"/>
              <a:t> as an enhancement in Release 4.6. </a:t>
            </a:r>
          </a:p>
          <a:p>
            <a:pPr lvl="1"/>
            <a:r>
              <a:rPr lang="en-US" dirty="0"/>
              <a:t>Search for available Business Add-Ins in SAP programs </a:t>
            </a:r>
          </a:p>
          <a:p>
            <a:pPr lvl="1"/>
            <a:r>
              <a:rPr lang="en-US" dirty="0"/>
              <a:t>Use Business Add-Ins to implement program enhancements </a:t>
            </a:r>
          </a:p>
          <a:p>
            <a:pPr lvl="1"/>
            <a:r>
              <a:rPr lang="en-US" dirty="0"/>
              <a:t>Explain what an extensible filter type is </a:t>
            </a:r>
          </a:p>
          <a:p>
            <a:pPr lvl="1"/>
            <a:r>
              <a:rPr lang="en-US" dirty="0"/>
              <a:t>Explain the default and sample code of a </a:t>
            </a:r>
            <a:r>
              <a:rPr lang="en-US" dirty="0" err="1"/>
              <a:t>BAdI</a:t>
            </a:r>
            <a:r>
              <a:rPr lang="en-US" dirty="0"/>
              <a:t> </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6369045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br>
              <a:rPr lang="en-US" dirty="0"/>
            </a:br>
            <a:r>
              <a:rPr lang="en-US" dirty="0"/>
              <a:t>Multiple Use </a:t>
            </a:r>
            <a:r>
              <a:rPr lang="en-US" dirty="0" err="1"/>
              <a:t>BAdI’s</a:t>
            </a:r>
            <a:br>
              <a:rPr lang="en-US" dirty="0"/>
            </a:br>
            <a:endParaRPr lang="en-US" dirty="0"/>
          </a:p>
        </p:txBody>
      </p:sp>
      <p:sp>
        <p:nvSpPr>
          <p:cNvPr id="3" name="Content Placeholder 2"/>
          <p:cNvSpPr>
            <a:spLocks noGrp="1"/>
          </p:cNvSpPr>
          <p:nvPr>
            <p:ph idx="1"/>
          </p:nvPr>
        </p:nvSpPr>
        <p:spPr/>
        <p:txBody>
          <a:bodyPr>
            <a:normAutofit/>
          </a:bodyPr>
          <a:lstStyle/>
          <a:p>
            <a:r>
              <a:rPr lang="en-US" dirty="0"/>
              <a:t>Multiple implementations are possible for the same </a:t>
            </a:r>
            <a:r>
              <a:rPr lang="en-US" dirty="0" err="1"/>
              <a:t>BAdI</a:t>
            </a:r>
            <a:endParaRPr lang="en-US" dirty="0"/>
          </a:p>
          <a:p>
            <a:endParaRPr lang="en-US" dirty="0"/>
          </a:p>
          <a:p>
            <a:r>
              <a:rPr lang="en-US" dirty="0"/>
              <a:t>There is no sequence control for multiple implementation since at the time of definition, it doesn’t know which implementation will be active.</a:t>
            </a:r>
          </a:p>
          <a:p>
            <a:endParaRPr lang="en-US" dirty="0"/>
          </a:p>
          <a:p>
            <a:r>
              <a:rPr lang="en-US" dirty="0"/>
              <a:t>All active implementations will be triggered by the application program.</a:t>
            </a:r>
          </a:p>
          <a:p>
            <a:endParaRPr lang="en-US" dirty="0"/>
          </a:p>
          <a:p>
            <a:r>
              <a:rPr lang="en-US" dirty="0"/>
              <a:t>To display the list of all implementations of a </a:t>
            </a:r>
            <a:r>
              <a:rPr lang="en-US" dirty="0" err="1"/>
              <a:t>BAdI</a:t>
            </a:r>
            <a:r>
              <a:rPr lang="en-US" dirty="0"/>
              <a:t> definition, go to Implementation -&gt; Display in SE18.</a:t>
            </a:r>
          </a:p>
          <a:p>
            <a:endParaRPr lang="en-US" dirty="0"/>
          </a:p>
          <a:p>
            <a:r>
              <a:rPr lang="en-US" dirty="0"/>
              <a:t>When defining a Multiple use </a:t>
            </a:r>
            <a:r>
              <a:rPr lang="en-US" dirty="0" err="1"/>
              <a:t>BAdI</a:t>
            </a:r>
            <a:r>
              <a:rPr lang="en-US" dirty="0"/>
              <a:t>, the interface methods of the </a:t>
            </a:r>
            <a:r>
              <a:rPr lang="en-US" dirty="0" err="1"/>
              <a:t>BAdI</a:t>
            </a:r>
            <a:r>
              <a:rPr lang="en-US" dirty="0"/>
              <a:t> should not contain export or returning parameters</a:t>
            </a:r>
          </a:p>
          <a:p>
            <a:endParaRPr lang="en-US" sz="2000" dirty="0"/>
          </a:p>
        </p:txBody>
      </p:sp>
    </p:spTree>
    <p:extLst>
      <p:ext uri="{BB962C8B-B14F-4D97-AF65-F5344CB8AC3E}">
        <p14:creationId xmlns:p14="http://schemas.microsoft.com/office/powerpoint/2010/main" val="36410650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br>
              <a:rPr lang="en-US" dirty="0"/>
            </a:br>
            <a:r>
              <a:rPr lang="en-US" dirty="0"/>
              <a:t>Multiple Use </a:t>
            </a:r>
            <a:r>
              <a:rPr lang="en-US" dirty="0" err="1"/>
              <a:t>BAdI’s</a:t>
            </a:r>
            <a:br>
              <a:rPr lang="en-US" dirty="0"/>
            </a:br>
            <a:endParaRPr lang="en-US" dirty="0"/>
          </a:p>
        </p:txBody>
      </p:sp>
      <p:pic>
        <p:nvPicPr>
          <p:cNvPr id="4" name="Content Placeholder 3"/>
          <p:cNvPicPr>
            <a:picLocks noGrp="1" noChangeAspect="1"/>
          </p:cNvPicPr>
          <p:nvPr>
            <p:ph idx="1"/>
          </p:nvPr>
        </p:nvPicPr>
        <p:blipFill>
          <a:blip r:embed="rId3"/>
          <a:stretch>
            <a:fillRect/>
          </a:stretch>
        </p:blipFill>
        <p:spPr>
          <a:xfrm>
            <a:off x="598353" y="1480945"/>
            <a:ext cx="4290432" cy="3162574"/>
          </a:xfrm>
          <a:prstGeom prst="rect">
            <a:avLst/>
          </a:prstGeom>
          <a:ln>
            <a:solidFill>
              <a:schemeClr val="tx1"/>
            </a:solidFill>
          </a:ln>
        </p:spPr>
      </p:pic>
    </p:spTree>
    <p:extLst>
      <p:ext uri="{BB962C8B-B14F-4D97-AF65-F5344CB8AC3E}">
        <p14:creationId xmlns:p14="http://schemas.microsoft.com/office/powerpoint/2010/main" val="19710101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a:t>
            </a:r>
            <a:r>
              <a:rPr lang="en-US" altLang="en-US" dirty="0" err="1"/>
              <a:t>Mutiple</a:t>
            </a:r>
            <a:r>
              <a:rPr lang="en-US" altLang="en-US" dirty="0"/>
              <a:t> Use </a:t>
            </a:r>
            <a:r>
              <a:rPr lang="en-US" altLang="en-US" dirty="0" err="1"/>
              <a:t>BAdI</a:t>
            </a:r>
            <a:endParaRPr lang="en-US" altLang="en-US" dirty="0"/>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9041998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br>
              <a:rPr lang="en-US" dirty="0"/>
            </a:br>
            <a:r>
              <a:rPr lang="en-US" dirty="0"/>
              <a:t>Filters</a:t>
            </a:r>
            <a:br>
              <a:rPr lang="en-US" dirty="0"/>
            </a:br>
            <a:endParaRPr lang="en-US" dirty="0"/>
          </a:p>
        </p:txBody>
      </p:sp>
      <p:sp>
        <p:nvSpPr>
          <p:cNvPr id="3" name="Content Placeholder 2"/>
          <p:cNvSpPr>
            <a:spLocks noGrp="1"/>
          </p:cNvSpPr>
          <p:nvPr>
            <p:ph idx="1"/>
          </p:nvPr>
        </p:nvSpPr>
        <p:spPr/>
        <p:txBody>
          <a:bodyPr/>
          <a:lstStyle/>
          <a:p>
            <a:r>
              <a:rPr lang="en-US" dirty="0" err="1"/>
              <a:t>BAdI’s</a:t>
            </a:r>
            <a:r>
              <a:rPr lang="en-US" dirty="0"/>
              <a:t> are implemented based on some filter values</a:t>
            </a:r>
          </a:p>
          <a:p>
            <a:endParaRPr lang="en-US" dirty="0"/>
          </a:p>
          <a:p>
            <a:r>
              <a:rPr lang="en-US" dirty="0"/>
              <a:t>Filter type must be specified while defining the enhancement.</a:t>
            </a:r>
          </a:p>
          <a:p>
            <a:endParaRPr lang="en-US" dirty="0"/>
          </a:p>
          <a:p>
            <a:r>
              <a:rPr lang="en-US" dirty="0"/>
              <a:t>It can be a single filter value or a set of values.</a:t>
            </a:r>
          </a:p>
          <a:p>
            <a:endParaRPr lang="en-US" dirty="0"/>
          </a:p>
          <a:p>
            <a:r>
              <a:rPr lang="en-US" dirty="0"/>
              <a:t>All methods in the interface will have the filter value FLT_VAL as their importing parameter.</a:t>
            </a:r>
          </a:p>
          <a:p>
            <a:endParaRPr lang="en-US" dirty="0"/>
          </a:p>
          <a:p>
            <a:r>
              <a:rPr lang="en-US" dirty="0"/>
              <a:t>The method then selects the active implementation based on the data provided in the filter value.</a:t>
            </a:r>
          </a:p>
          <a:p>
            <a:endParaRPr lang="en-US" dirty="0"/>
          </a:p>
          <a:p>
            <a:endParaRPr lang="en-US" dirty="0"/>
          </a:p>
        </p:txBody>
      </p:sp>
      <p:sp>
        <p:nvSpPr>
          <p:cNvPr id="4" name="Footer Placeholder 3"/>
          <p:cNvSpPr>
            <a:spLocks noGrp="1"/>
          </p:cNvSpPr>
          <p:nvPr>
            <p:ph type="ftr" sz="quarter" idx="4294967295"/>
          </p:nvPr>
        </p:nvSpPr>
        <p:spPr>
          <a:xfrm>
            <a:off x="3124200" y="6356350"/>
            <a:ext cx="2895600" cy="365125"/>
          </a:xfrm>
          <a:prstGeom prst="rect">
            <a:avLst/>
          </a:prstGeom>
        </p:spPr>
        <p:txBody>
          <a:bodyPr/>
          <a:lstStyle/>
          <a:p>
            <a:endParaRPr lang="en-US"/>
          </a:p>
        </p:txBody>
      </p:sp>
    </p:spTree>
    <p:extLst>
      <p:ext uri="{BB962C8B-B14F-4D97-AF65-F5344CB8AC3E}">
        <p14:creationId xmlns:p14="http://schemas.microsoft.com/office/powerpoint/2010/main" val="17513607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br>
              <a:rPr lang="en-US" dirty="0"/>
            </a:br>
            <a:r>
              <a:rPr lang="en-US" dirty="0"/>
              <a:t>Filters</a:t>
            </a:r>
            <a:br>
              <a:rPr lang="en-US" dirty="0"/>
            </a:br>
            <a:endParaRPr lang="en-US" dirty="0"/>
          </a:p>
        </p:txBody>
      </p:sp>
      <p:sp>
        <p:nvSpPr>
          <p:cNvPr id="3" name="Content Placeholder 2"/>
          <p:cNvSpPr>
            <a:spLocks noGrp="1"/>
          </p:cNvSpPr>
          <p:nvPr>
            <p:ph idx="1"/>
          </p:nvPr>
        </p:nvSpPr>
        <p:spPr/>
        <p:txBody>
          <a:bodyPr/>
          <a:lstStyle/>
          <a:p>
            <a:r>
              <a:rPr lang="en-US" dirty="0"/>
              <a:t>A filter type can be a data element or a structure.  A data element must fulfill the following criteria:</a:t>
            </a:r>
          </a:p>
          <a:p>
            <a:r>
              <a:rPr lang="en-US" dirty="0"/>
              <a:t>The data element's domain may contain a maximum of 30 characters and must be of type Character.</a:t>
            </a:r>
          </a:p>
          <a:p>
            <a:r>
              <a:rPr lang="en-US" dirty="0"/>
              <a:t>The data element must </a:t>
            </a:r>
          </a:p>
          <a:p>
            <a:pPr lvl="1"/>
            <a:r>
              <a:rPr lang="en-US" dirty="0"/>
              <a:t>Either have a search help with a search help parameter of the same type as the data element and this parameter must serve as both the Import and export parameter </a:t>
            </a:r>
          </a:p>
          <a:p>
            <a:pPr lvl="1"/>
            <a:r>
              <a:rPr lang="en-US" dirty="0"/>
              <a:t>OR</a:t>
            </a:r>
          </a:p>
          <a:p>
            <a:pPr lvl="1"/>
            <a:r>
              <a:rPr lang="en-US" dirty="0"/>
              <a:t>Element's domain must have fixed domain values or a value table containing a column with the same type as the data element.</a:t>
            </a:r>
          </a:p>
          <a:p>
            <a:endParaRPr lang="en-US" dirty="0"/>
          </a:p>
        </p:txBody>
      </p:sp>
      <p:sp>
        <p:nvSpPr>
          <p:cNvPr id="4" name="Footer Placeholder 3"/>
          <p:cNvSpPr>
            <a:spLocks noGrp="1"/>
          </p:cNvSpPr>
          <p:nvPr>
            <p:ph type="ftr" sz="quarter" idx="4294967295"/>
          </p:nvPr>
        </p:nvSpPr>
        <p:spPr>
          <a:xfrm>
            <a:off x="3124200" y="6356350"/>
            <a:ext cx="2895600" cy="365125"/>
          </a:xfrm>
          <a:prstGeom prst="rect">
            <a:avLst/>
          </a:prstGeom>
        </p:spPr>
        <p:txBody>
          <a:bodyPr/>
          <a:lstStyle/>
          <a:p>
            <a:endParaRPr lang="en-US"/>
          </a:p>
        </p:txBody>
      </p:sp>
    </p:spTree>
    <p:extLst>
      <p:ext uri="{BB962C8B-B14F-4D97-AF65-F5344CB8AC3E}">
        <p14:creationId xmlns:p14="http://schemas.microsoft.com/office/powerpoint/2010/main" val="29888722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br>
              <a:rPr lang="en-US" dirty="0"/>
            </a:br>
            <a:r>
              <a:rPr lang="en-US" dirty="0"/>
              <a:t>Filters</a:t>
            </a:r>
            <a:br>
              <a:rPr lang="en-US" dirty="0"/>
            </a:br>
            <a:endParaRPr lang="en-US" dirty="0"/>
          </a:p>
        </p:txBody>
      </p:sp>
      <p:sp>
        <p:nvSpPr>
          <p:cNvPr id="3" name="Content Placeholder 2"/>
          <p:cNvSpPr>
            <a:spLocks noGrp="1"/>
          </p:cNvSpPr>
          <p:nvPr>
            <p:ph idx="1"/>
          </p:nvPr>
        </p:nvSpPr>
        <p:spPr/>
        <p:txBody>
          <a:bodyPr/>
          <a:lstStyle/>
          <a:p>
            <a:r>
              <a:rPr lang="en-US" dirty="0"/>
              <a:t>Select  the option Create Filter</a:t>
            </a:r>
          </a:p>
          <a:p>
            <a:endParaRPr lang="en-US" dirty="0"/>
          </a:p>
        </p:txBody>
      </p:sp>
      <p:sp>
        <p:nvSpPr>
          <p:cNvPr id="4" name="Footer Placeholder 3"/>
          <p:cNvSpPr>
            <a:spLocks noGrp="1"/>
          </p:cNvSpPr>
          <p:nvPr>
            <p:ph type="ftr" sz="quarter" idx="4294967295"/>
          </p:nvPr>
        </p:nvSpPr>
        <p:spPr>
          <a:xfrm>
            <a:off x="3124200" y="6356350"/>
            <a:ext cx="2895600" cy="365125"/>
          </a:xfrm>
          <a:prstGeom prst="rect">
            <a:avLst/>
          </a:prstGeom>
        </p:spPr>
        <p:txBody>
          <a:bodyPr/>
          <a:lstStyle/>
          <a:p>
            <a:endParaRPr lang="en-US"/>
          </a:p>
        </p:txBody>
      </p:sp>
    </p:spTree>
    <p:extLst>
      <p:ext uri="{BB962C8B-B14F-4D97-AF65-F5344CB8AC3E}">
        <p14:creationId xmlns:p14="http://schemas.microsoft.com/office/powerpoint/2010/main" val="15340187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br>
              <a:rPr lang="en-US" dirty="0"/>
            </a:br>
            <a:r>
              <a:rPr lang="en-US" dirty="0"/>
              <a:t>Filters</a:t>
            </a:r>
            <a:br>
              <a:rPr lang="en-US" dirty="0"/>
            </a:br>
            <a:endParaRPr lang="en-US" dirty="0"/>
          </a:p>
        </p:txBody>
      </p:sp>
      <p:sp>
        <p:nvSpPr>
          <p:cNvPr id="3" name="Content Placeholder 2"/>
          <p:cNvSpPr>
            <a:spLocks noGrp="1"/>
          </p:cNvSpPr>
          <p:nvPr>
            <p:ph idx="1"/>
          </p:nvPr>
        </p:nvSpPr>
        <p:spPr>
          <a:xfrm>
            <a:off x="215942" y="1501977"/>
            <a:ext cx="8712115" cy="4636540"/>
          </a:xfrm>
        </p:spPr>
        <p:txBody>
          <a:bodyPr/>
          <a:lstStyle/>
          <a:p>
            <a:r>
              <a:rPr lang="en-US" dirty="0"/>
              <a:t>Specify the required parameters – </a:t>
            </a:r>
            <a:r>
              <a:rPr lang="en-US" dirty="0" err="1"/>
              <a:t>BAdI</a:t>
            </a:r>
            <a:r>
              <a:rPr lang="en-US" dirty="0"/>
              <a:t> Filter Field, Filter Type and Description</a:t>
            </a:r>
          </a:p>
          <a:p>
            <a:r>
              <a:rPr lang="en-US" dirty="0"/>
              <a:t>When creating the </a:t>
            </a:r>
            <a:r>
              <a:rPr lang="en-US" dirty="0" err="1"/>
              <a:t>BAdI</a:t>
            </a:r>
            <a:r>
              <a:rPr lang="en-US" dirty="0"/>
              <a:t> implementation, the filter values for which the implementation should be processed should be defined</a:t>
            </a:r>
          </a:p>
          <a:p>
            <a:endParaRPr lang="en-US" dirty="0"/>
          </a:p>
        </p:txBody>
      </p:sp>
      <p:sp>
        <p:nvSpPr>
          <p:cNvPr id="4" name="Footer Placeholder 3"/>
          <p:cNvSpPr>
            <a:spLocks noGrp="1"/>
          </p:cNvSpPr>
          <p:nvPr>
            <p:ph type="ftr" sz="quarter" idx="4294967295"/>
          </p:nvPr>
        </p:nvSpPr>
        <p:spPr>
          <a:xfrm>
            <a:off x="3124200" y="6356350"/>
            <a:ext cx="2895600" cy="365125"/>
          </a:xfrm>
          <a:prstGeom prst="rect">
            <a:avLst/>
          </a:prstGeom>
        </p:spPr>
        <p:txBody>
          <a:bodyPr/>
          <a:lstStyle/>
          <a:p>
            <a:endParaRPr lang="en-US"/>
          </a:p>
        </p:txBody>
      </p:sp>
    </p:spTree>
    <p:extLst>
      <p:ext uri="{BB962C8B-B14F-4D97-AF65-F5344CB8AC3E}">
        <p14:creationId xmlns:p14="http://schemas.microsoft.com/office/powerpoint/2010/main" val="37999874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9" name="Content Placeholder 8"/>
          <p:cNvSpPr>
            <a:spLocks noGrp="1"/>
          </p:cNvSpPr>
          <p:nvPr>
            <p:ph idx="1"/>
          </p:nvPr>
        </p:nvSpPr>
        <p:spPr/>
        <p:txBody>
          <a:bodyPr/>
          <a:lstStyle/>
          <a:p>
            <a:r>
              <a:rPr lang="en-US" dirty="0">
                <a:solidFill>
                  <a:schemeClr val="tx1"/>
                </a:solidFill>
              </a:rPr>
              <a:t>In this lesson, you have learnt:</a:t>
            </a:r>
          </a:p>
          <a:p>
            <a:pPr lvl="1"/>
            <a:r>
              <a:rPr lang="en-US" dirty="0"/>
              <a:t>Why SAP introduced classic </a:t>
            </a:r>
            <a:r>
              <a:rPr lang="en-US" dirty="0" err="1"/>
              <a:t>Badi's</a:t>
            </a:r>
            <a:r>
              <a:rPr lang="en-US" dirty="0"/>
              <a:t> as an enhancement in Release 4.6. </a:t>
            </a:r>
          </a:p>
          <a:p>
            <a:pPr lvl="1"/>
            <a:r>
              <a:rPr lang="en-US" dirty="0"/>
              <a:t>How to Search for available Business Add-Ins in SAP programs </a:t>
            </a:r>
          </a:p>
          <a:p>
            <a:pPr lvl="1"/>
            <a:r>
              <a:rPr lang="en-US" dirty="0"/>
              <a:t>How to Use Business Add-Ins to implement program enhancements </a:t>
            </a:r>
          </a:p>
          <a:p>
            <a:pPr lvl="1"/>
            <a:r>
              <a:rPr lang="en-US" dirty="0"/>
              <a:t>What an extensible filter type is </a:t>
            </a:r>
          </a:p>
          <a:p>
            <a:pPr lvl="1"/>
            <a:r>
              <a:rPr lang="en-US" dirty="0"/>
              <a:t>The default and sample code of a </a:t>
            </a:r>
            <a:r>
              <a:rPr lang="en-US" dirty="0" err="1"/>
              <a:t>BAdI</a:t>
            </a:r>
            <a:r>
              <a:rPr lang="en-US" dirty="0"/>
              <a:t> </a:t>
            </a:r>
          </a:p>
        </p:txBody>
      </p:sp>
    </p:spTree>
    <p:extLst>
      <p:ext uri="{BB962C8B-B14F-4D97-AF65-F5344CB8AC3E}">
        <p14:creationId xmlns:p14="http://schemas.microsoft.com/office/powerpoint/2010/main" val="899385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9" name="Content Placeholder 8"/>
          <p:cNvSpPr>
            <a:spLocks noGrp="1"/>
          </p:cNvSpPr>
          <p:nvPr>
            <p:ph idx="1"/>
          </p:nvPr>
        </p:nvSpPr>
        <p:spPr/>
        <p:txBody>
          <a:bodyPr/>
          <a:lstStyle/>
          <a:p>
            <a:r>
              <a:rPr lang="en-US" altLang="en-US" dirty="0"/>
              <a:t>Question 1: ___  </a:t>
            </a:r>
            <a:r>
              <a:rPr lang="en-US" altLang="en-US" dirty="0" err="1"/>
              <a:t>Tcode</a:t>
            </a:r>
            <a:r>
              <a:rPr lang="en-US" altLang="en-US" dirty="0"/>
              <a:t> is used to define a </a:t>
            </a:r>
            <a:r>
              <a:rPr lang="en-US" altLang="en-US" dirty="0" err="1"/>
              <a:t>BAdI</a:t>
            </a:r>
            <a:r>
              <a:rPr lang="en-US" altLang="en-US" dirty="0"/>
              <a:t>.</a:t>
            </a:r>
          </a:p>
          <a:p>
            <a:pPr>
              <a:buNone/>
            </a:pPr>
            <a:r>
              <a:rPr lang="en-US" altLang="en-US" dirty="0"/>
              <a:t> </a:t>
            </a:r>
          </a:p>
          <a:p>
            <a:r>
              <a:rPr lang="en-US" altLang="en-US" dirty="0"/>
              <a:t>Question 2: : ___  </a:t>
            </a:r>
            <a:r>
              <a:rPr lang="en-US" altLang="en-US" dirty="0" err="1"/>
              <a:t>Tcode</a:t>
            </a:r>
            <a:r>
              <a:rPr lang="en-US" altLang="en-US" dirty="0"/>
              <a:t> is used to implement a </a:t>
            </a:r>
            <a:r>
              <a:rPr lang="en-US" altLang="en-US" dirty="0" err="1"/>
              <a:t>BAdI</a:t>
            </a:r>
            <a:r>
              <a:rPr lang="en-US" altLang="en-US" dirty="0"/>
              <a:t>.       </a:t>
            </a:r>
          </a:p>
          <a:p>
            <a:pPr marL="174625" lvl="1" indent="0">
              <a:buNone/>
            </a:pPr>
            <a:r>
              <a:rPr lang="en-US" altLang="en-US" dirty="0"/>
              <a:t>                                                                                                                                  </a:t>
            </a:r>
          </a:p>
          <a:p>
            <a:pPr marL="174625" lvl="1" indent="0">
              <a:buNone/>
            </a:pPr>
            <a:endParaRPr lang="en-US" dirty="0">
              <a:solidFill>
                <a:schemeClr val="tx1"/>
              </a:solidFill>
            </a:endParaRPr>
          </a:p>
        </p:txBody>
      </p:sp>
    </p:spTree>
    <p:extLst>
      <p:ext uri="{BB962C8B-B14F-4D97-AF65-F5344CB8AC3E}">
        <p14:creationId xmlns:p14="http://schemas.microsoft.com/office/powerpoint/2010/main" val="23348697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a:t>
            </a:r>
          </a:p>
        </p:txBody>
      </p:sp>
      <p:sp>
        <p:nvSpPr>
          <p:cNvPr id="3" name="Content Placeholder 2"/>
          <p:cNvSpPr>
            <a:spLocks noGrp="1"/>
          </p:cNvSpPr>
          <p:nvPr>
            <p:ph idx="1"/>
          </p:nvPr>
        </p:nvSpPr>
        <p:spPr/>
        <p:txBody>
          <a:bodyPr/>
          <a:lstStyle/>
          <a:p>
            <a:r>
              <a:rPr lang="en-US" dirty="0" err="1"/>
              <a:t>BAdI</a:t>
            </a:r>
            <a:r>
              <a:rPr lang="en-US" dirty="0"/>
              <a:t> – Business Add-ins</a:t>
            </a:r>
          </a:p>
          <a:p>
            <a:r>
              <a:rPr lang="en-US" dirty="0"/>
              <a:t>New SAP enhancements using SAP Objects.</a:t>
            </a:r>
          </a:p>
          <a:p>
            <a:r>
              <a:rPr lang="en-US" dirty="0"/>
              <a:t>Users of </a:t>
            </a:r>
            <a:r>
              <a:rPr lang="en-US" dirty="0" err="1"/>
              <a:t>BAdI</a:t>
            </a:r>
            <a:r>
              <a:rPr lang="en-US" dirty="0"/>
              <a:t> can customize the logic according to the specific requirements (User-defined) or use the standard logic available.</a:t>
            </a:r>
          </a:p>
          <a:p>
            <a:r>
              <a:rPr lang="en-US" dirty="0"/>
              <a:t>Each Business Add-In has</a:t>
            </a:r>
          </a:p>
          <a:p>
            <a:pPr lvl="1"/>
            <a:r>
              <a:rPr lang="en-US" dirty="0"/>
              <a:t>At least one </a:t>
            </a:r>
            <a:r>
              <a:rPr lang="en-US" dirty="0" err="1"/>
              <a:t>BAdI</a:t>
            </a:r>
            <a:r>
              <a:rPr lang="en-US" dirty="0"/>
              <a:t> definition</a:t>
            </a:r>
          </a:p>
          <a:p>
            <a:pPr lvl="1"/>
            <a:r>
              <a:rPr lang="en-US" dirty="0"/>
              <a:t>A </a:t>
            </a:r>
            <a:r>
              <a:rPr lang="en-US" dirty="0" err="1"/>
              <a:t>BAdI</a:t>
            </a:r>
            <a:r>
              <a:rPr lang="en-US" dirty="0"/>
              <a:t> interface</a:t>
            </a:r>
          </a:p>
          <a:p>
            <a:pPr lvl="1"/>
            <a:r>
              <a:rPr lang="en-US" dirty="0"/>
              <a:t>A </a:t>
            </a:r>
            <a:r>
              <a:rPr lang="en-US" dirty="0" err="1"/>
              <a:t>BAdI</a:t>
            </a:r>
            <a:r>
              <a:rPr lang="en-US" dirty="0"/>
              <a:t> class that implements the interface</a:t>
            </a:r>
          </a:p>
          <a:p>
            <a:r>
              <a:rPr lang="en-US" dirty="0"/>
              <a:t>For User-defined </a:t>
            </a:r>
            <a:r>
              <a:rPr lang="en-US" dirty="0" err="1"/>
              <a:t>BAdI</a:t>
            </a:r>
            <a:r>
              <a:rPr lang="en-US" dirty="0"/>
              <a:t>, </a:t>
            </a:r>
          </a:p>
          <a:p>
            <a:pPr lvl="1"/>
            <a:r>
              <a:rPr lang="en-US" dirty="0"/>
              <a:t>developer creates an interface for the add-in.</a:t>
            </a:r>
          </a:p>
          <a:p>
            <a:pPr lvl="1"/>
            <a:r>
              <a:rPr lang="en-US" dirty="0"/>
              <a:t>Enhancement management creates an adapter class that implements the interface</a:t>
            </a:r>
          </a:p>
          <a:p>
            <a:pPr lvl="1"/>
            <a:r>
              <a:rPr lang="en-US" dirty="0"/>
              <a:t>Developer creates an instance of the class in the application program and calls the corresponding methods.</a:t>
            </a:r>
          </a:p>
          <a:p>
            <a:endParaRPr lang="en-US" dirty="0"/>
          </a:p>
        </p:txBody>
      </p:sp>
    </p:spTree>
    <p:extLst>
      <p:ext uri="{BB962C8B-B14F-4D97-AF65-F5344CB8AC3E}">
        <p14:creationId xmlns:p14="http://schemas.microsoft.com/office/powerpoint/2010/main" val="23349475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 (Contd.).</a:t>
            </a:r>
          </a:p>
        </p:txBody>
      </p:sp>
      <p:sp>
        <p:nvSpPr>
          <p:cNvPr id="3" name="Content Placeholder 2"/>
          <p:cNvSpPr>
            <a:spLocks noGrp="1"/>
          </p:cNvSpPr>
          <p:nvPr>
            <p:ph idx="1"/>
          </p:nvPr>
        </p:nvSpPr>
        <p:spPr/>
        <p:txBody>
          <a:bodyPr/>
          <a:lstStyle/>
          <a:p>
            <a:r>
              <a:rPr lang="en-US" dirty="0"/>
              <a:t>For standard </a:t>
            </a:r>
            <a:r>
              <a:rPr lang="en-US" dirty="0" err="1"/>
              <a:t>BAdI</a:t>
            </a:r>
            <a:r>
              <a:rPr lang="en-US" dirty="0"/>
              <a:t>, interface and class will be predefined by SAP.</a:t>
            </a:r>
          </a:p>
          <a:p>
            <a:endParaRPr lang="en-US" dirty="0"/>
          </a:p>
          <a:p>
            <a:r>
              <a:rPr lang="en-US" dirty="0"/>
              <a:t>Adapter class performs these tasks</a:t>
            </a:r>
          </a:p>
          <a:p>
            <a:pPr lvl="1"/>
            <a:r>
              <a:rPr lang="en-US" dirty="0"/>
              <a:t>Control ( the class calls all active implementations)</a:t>
            </a:r>
          </a:p>
          <a:p>
            <a:pPr lvl="1"/>
            <a:r>
              <a:rPr lang="en-US" dirty="0"/>
              <a:t>Filtering (If the Add-in has to be executed under certain conditions, the class ensures that only certain implementations are executed)</a:t>
            </a:r>
          </a:p>
          <a:p>
            <a:endParaRPr lang="en-US" dirty="0"/>
          </a:p>
          <a:p>
            <a:r>
              <a:rPr lang="en-US" dirty="0"/>
              <a:t>In </a:t>
            </a:r>
            <a:r>
              <a:rPr lang="en-US" dirty="0" err="1"/>
              <a:t>BAdI</a:t>
            </a:r>
            <a:r>
              <a:rPr lang="en-US" dirty="0"/>
              <a:t>,  all the enhancement components are grouped together.</a:t>
            </a:r>
          </a:p>
          <a:p>
            <a:pPr lvl="1"/>
            <a:r>
              <a:rPr lang="en-US" dirty="0"/>
              <a:t>Program Enhancements (interface methods)</a:t>
            </a:r>
          </a:p>
          <a:p>
            <a:pPr lvl="1"/>
            <a:r>
              <a:rPr lang="en-US" dirty="0"/>
              <a:t>Menu Enhancements (function codes in interface definition)</a:t>
            </a:r>
          </a:p>
          <a:p>
            <a:pPr lvl="1"/>
            <a:r>
              <a:rPr lang="en-US" dirty="0"/>
              <a:t>Screen Enhancements </a:t>
            </a:r>
          </a:p>
        </p:txBody>
      </p:sp>
    </p:spTree>
    <p:extLst>
      <p:ext uri="{BB962C8B-B14F-4D97-AF65-F5344CB8AC3E}">
        <p14:creationId xmlns:p14="http://schemas.microsoft.com/office/powerpoint/2010/main" val="35676298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br>
              <a:rPr lang="en-US" dirty="0"/>
            </a:br>
            <a:r>
              <a:rPr lang="en-US" dirty="0"/>
              <a:t>Advantages of </a:t>
            </a:r>
            <a:r>
              <a:rPr lang="en-US" dirty="0" err="1"/>
              <a:t>BAdI’s</a:t>
            </a:r>
            <a:br>
              <a:rPr lang="en-US" dirty="0"/>
            </a:br>
            <a:endParaRPr lang="en-US" dirty="0"/>
          </a:p>
        </p:txBody>
      </p:sp>
      <p:sp>
        <p:nvSpPr>
          <p:cNvPr id="3" name="Content Placeholder 2"/>
          <p:cNvSpPr>
            <a:spLocks noGrp="1"/>
          </p:cNvSpPr>
          <p:nvPr>
            <p:ph idx="1"/>
          </p:nvPr>
        </p:nvSpPr>
        <p:spPr/>
        <p:txBody>
          <a:bodyPr>
            <a:normAutofit fontScale="85000" lnSpcReduction="10000"/>
          </a:bodyPr>
          <a:lstStyle/>
          <a:p>
            <a:r>
              <a:rPr lang="en-US" sz="1900" dirty="0"/>
              <a:t>Business Add-Ins no longer assume a two-level infrastructure (SAP and customer solutions), but instead allow for a multi-level system landscape (SAP, country-specific versions, industry solutions, partner, customer, and so on). You can create definitions and implementations of Business Add-Ins at any level of the system landscape.</a:t>
            </a:r>
          </a:p>
          <a:p>
            <a:r>
              <a:rPr lang="en-US" sz="1900" dirty="0"/>
              <a:t>SAP guarantees the upward compatibility of all Business Add-In interfaces. Release upgrades do not affect enhancement calls from within the standard software nor do they affect the validity of call interfaces. You do not have to register Business Add-Ins </a:t>
            </a:r>
            <a:r>
              <a:rPr lang="en-US" sz="1900"/>
              <a:t>in SSCR </a:t>
            </a:r>
            <a:r>
              <a:rPr lang="en-US"/>
              <a:t>SAP Software Change Registration procedure</a:t>
            </a:r>
            <a:r>
              <a:rPr lang="en-US" sz="1900"/>
              <a:t>.</a:t>
            </a:r>
            <a:endParaRPr lang="en-US" sz="1900" dirty="0"/>
          </a:p>
          <a:p>
            <a:r>
              <a:rPr lang="en-US" sz="1900" dirty="0"/>
              <a:t>The Business Add-In enhancement technique differentiates between enhancements that can only be implemented once and enhancements that can be used actively by any number of customers at the same time</a:t>
            </a:r>
          </a:p>
          <a:p>
            <a:r>
              <a:rPr lang="en-US" sz="1900" dirty="0"/>
              <a:t>Business Add-Ins can be defined according to filter values. This allows you to differentiate between Add-In implementations using the filter criteria as per customer’s requirements.</a:t>
            </a:r>
          </a:p>
          <a:p>
            <a:endParaRPr lang="en-US" sz="2000" dirty="0"/>
          </a:p>
          <a:p>
            <a:endParaRPr lang="en-US" dirty="0"/>
          </a:p>
        </p:txBody>
      </p:sp>
    </p:spTree>
    <p:extLst>
      <p:ext uri="{BB962C8B-B14F-4D97-AF65-F5344CB8AC3E}">
        <p14:creationId xmlns:p14="http://schemas.microsoft.com/office/powerpoint/2010/main" val="19146243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r>
              <a:rPr lang="en-US" altLang="en-US" dirty="0"/>
              <a:t>Demo: Find Standard </a:t>
            </a:r>
            <a:r>
              <a:rPr lang="en-US" altLang="en-US" dirty="0" err="1"/>
              <a:t>BAdI</a:t>
            </a:r>
            <a:r>
              <a:rPr lang="en-US" altLang="en-US" dirty="0"/>
              <a:t> using CL_EXITHANDLER=&gt;GET_INSTANCE</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20370698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r>
              <a:rPr lang="en-US" altLang="en-US" dirty="0"/>
              <a:t>Demo: Find Standard </a:t>
            </a:r>
            <a:r>
              <a:rPr lang="en-US" altLang="en-US" dirty="0" err="1"/>
              <a:t>BAdI</a:t>
            </a:r>
            <a:r>
              <a:rPr lang="en-US" altLang="en-US" dirty="0"/>
              <a:t> using SE24</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25541608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r>
              <a:rPr lang="en-US" altLang="en-US" dirty="0"/>
              <a:t>Demo: Find Standard </a:t>
            </a:r>
            <a:r>
              <a:rPr lang="en-US" altLang="en-US" dirty="0" err="1"/>
              <a:t>BAdI</a:t>
            </a:r>
            <a:r>
              <a:rPr lang="en-US" altLang="en-US" dirty="0"/>
              <a:t> using SQL Trace</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13821610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r>
              <a:rPr lang="en-US" altLang="en-US" dirty="0"/>
              <a:t>Demo: Find Standard </a:t>
            </a:r>
            <a:r>
              <a:rPr lang="en-US" altLang="en-US" dirty="0" err="1"/>
              <a:t>BAdI</a:t>
            </a:r>
            <a:r>
              <a:rPr lang="en-US" altLang="en-US" dirty="0"/>
              <a:t> using Repository Information System </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32128050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ov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lide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3.xml><?xml version="1.0" encoding="utf-8"?>
<a:theme xmlns:a="http://schemas.openxmlformats.org/drawingml/2006/main" name="Divid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4.xml><?xml version="1.0" encoding="utf-8"?>
<a:theme xmlns:a="http://schemas.openxmlformats.org/drawingml/2006/main" name="Back cover">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6218C44F-8CCC-498D-8120-F801235463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f9b258c7-9c72-463b-80f6-91d061ebb25d"/>
    <ds:schemaRef ds:uri="http://purl.org/dc/terms/"/>
    <ds:schemaRef ds:uri="http://schemas.openxmlformats.org/package/2006/metadata/core-properties"/>
    <ds:schemaRef ds:uri="http://schemas.microsoft.com/sharepoint/v3/field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6480</TotalTime>
  <Words>1209</Words>
  <Application>Microsoft Office PowerPoint</Application>
  <PresentationFormat>On-screen Show (4:3)</PresentationFormat>
  <Paragraphs>129</Paragraphs>
  <Slides>28</Slides>
  <Notes>28</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28</vt:i4>
      </vt:variant>
    </vt:vector>
  </HeadingPairs>
  <TitlesOfParts>
    <vt:vector size="38" baseType="lpstr">
      <vt:lpstr>Arial</vt:lpstr>
      <vt:lpstr>Calibri</vt:lpstr>
      <vt:lpstr>Candara</vt:lpstr>
      <vt:lpstr>Verdana</vt:lpstr>
      <vt:lpstr>Wingdings</vt:lpstr>
      <vt:lpstr>Covers</vt:lpstr>
      <vt:lpstr>Slides</vt:lpstr>
      <vt:lpstr>Dividers</vt:lpstr>
      <vt:lpstr>Back cover</vt:lpstr>
      <vt:lpstr>think-cell Slide</vt:lpstr>
      <vt:lpstr>ABAP Part II</vt:lpstr>
      <vt:lpstr>Lesson Objectives</vt:lpstr>
      <vt:lpstr>Introduction</vt:lpstr>
      <vt:lpstr>Introduction (Contd.).</vt:lpstr>
      <vt:lpstr> Advantages of BAdI’s </vt:lpstr>
      <vt:lpstr>Demo: Find Standard BAdI using CL_EXITHANDLER=&gt;GET_INSTANCE</vt:lpstr>
      <vt:lpstr>Demo: Find Standard BAdI using SE24</vt:lpstr>
      <vt:lpstr>Demo: Find Standard BAdI using SQL Trace</vt:lpstr>
      <vt:lpstr>Demo: Find Standard BAdI using Repository Information System </vt:lpstr>
      <vt:lpstr>BAdI Definition: Interface Methods </vt:lpstr>
      <vt:lpstr>BAdI Definition: Interface Methods Parameters </vt:lpstr>
      <vt:lpstr>BAdI Definition: Activating the Interface </vt:lpstr>
      <vt:lpstr>Demo: Create a customized BAdI</vt:lpstr>
      <vt:lpstr>Enhancement Spot</vt:lpstr>
      <vt:lpstr>Demo: Create an Enhancement spot</vt:lpstr>
      <vt:lpstr> Menu Enhancements </vt:lpstr>
      <vt:lpstr> Function Code Enhancements </vt:lpstr>
      <vt:lpstr>Screen Enhancement</vt:lpstr>
      <vt:lpstr> Defining Screen Enhancements </vt:lpstr>
      <vt:lpstr> Multiple Use BAdI’s </vt:lpstr>
      <vt:lpstr> Multiple Use BAdI’s </vt:lpstr>
      <vt:lpstr>Demo: Mutiple Use BAdI</vt:lpstr>
      <vt:lpstr> Filters </vt:lpstr>
      <vt:lpstr> Filters </vt:lpstr>
      <vt:lpstr> Filters </vt:lpstr>
      <vt:lpstr> Filters </vt:lpstr>
      <vt:lpstr>Summary</vt:lpstr>
      <vt:lpstr>Review Ques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Thomson, Roseline</cp:lastModifiedBy>
  <cp:revision>408</cp:revision>
  <cp:lastPrinted>2016-07-11T09:30:50Z</cp:lastPrinted>
  <dcterms:created xsi:type="dcterms:W3CDTF">2012-05-18T02:59:15Z</dcterms:created>
  <dcterms:modified xsi:type="dcterms:W3CDTF">2019-03-14T08:17: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